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2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3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4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5.xml" ContentType="application/vnd.openxmlformats-officedocument.them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6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5" r:id="rId13"/>
    <p:sldMasterId id="2147484074" r:id="rId14"/>
    <p:sldMasterId id="2147484093" r:id="rId15"/>
    <p:sldMasterId id="2147484113" r:id="rId16"/>
    <p:sldMasterId id="2147484135" r:id="rId17"/>
  </p:sldMasterIdLst>
  <p:notesMasterIdLst>
    <p:notesMasterId r:id="rId31"/>
  </p:notesMasterIdLst>
  <p:handoutMasterIdLst>
    <p:handoutMasterId r:id="rId32"/>
  </p:handoutMasterIdLst>
  <p:sldIdLst>
    <p:sldId id="257" r:id="rId18"/>
    <p:sldId id="258" r:id="rId19"/>
    <p:sldId id="259" r:id="rId20"/>
    <p:sldId id="260" r:id="rId21"/>
    <p:sldId id="261" r:id="rId22"/>
    <p:sldId id="263" r:id="rId23"/>
    <p:sldId id="262" r:id="rId24"/>
    <p:sldId id="279" r:id="rId25"/>
    <p:sldId id="281" r:id="rId26"/>
    <p:sldId id="280" r:id="rId27"/>
    <p:sldId id="270" r:id="rId28"/>
    <p:sldId id="282" r:id="rId29"/>
    <p:sldId id="276" r:id="rId30"/>
  </p:sldIdLst>
  <p:sldSz cx="13442950" cy="7561263"/>
  <p:notesSz cx="6858000" cy="9144000"/>
  <p:custDataLst>
    <p:tags r:id="rId33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3449"/>
    <a:srgbClr val="995FBD"/>
    <a:srgbClr val="A36FC3"/>
    <a:srgbClr val="8547AD"/>
    <a:srgbClr val="FFFFFF"/>
    <a:srgbClr val="000000"/>
    <a:srgbClr val="CAC8C8"/>
    <a:srgbClr val="33006F"/>
    <a:srgbClr val="0099A8"/>
    <a:srgbClr val="EA57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04" autoAdjust="0"/>
    <p:restoredTop sz="96190" autoAdjust="0"/>
  </p:normalViewPr>
  <p:slideViewPr>
    <p:cSldViewPr snapToGrid="0">
      <p:cViewPr varScale="1">
        <p:scale>
          <a:sx n="100" d="100"/>
          <a:sy n="100" d="100"/>
        </p:scale>
        <p:origin x="918" y="84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microsoft.com/office/2015/10/relationships/revisionInfo" Target="revisionInfo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4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Master" Target="slideMasters/slideMaster16.xml"/><Relationship Id="rId25" Type="http://schemas.openxmlformats.org/officeDocument/2006/relationships/slide" Target="slides/slide8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7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2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470824578123002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% Cinemago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87-4D8B-B2A5-840CAC6A862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87-4D8B-B2A5-840CAC6A8628}"/>
              </c:ext>
            </c:extLst>
          </c:dPt>
          <c:dLbls>
            <c:dLbl>
              <c:idx val="1"/>
              <c:layout>
                <c:manualLayout>
                  <c:x val="-8.278503094967574E-17"/>
                  <c:y val="2.584586179261187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D87-4D8B-B2A5-840CAC6A86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</c:f>
              <c:strCache>
                <c:ptCount val="2"/>
                <c:pt idx="0">
                  <c:v>Not used an SVOD service in the last month </c:v>
                </c:pt>
                <c:pt idx="1">
                  <c:v>Used an SVOD service in the last month </c:v>
                </c:pt>
              </c:strCache>
            </c:strRef>
          </c:cat>
          <c:val>
            <c:numRef>
              <c:f>Sheet1!$B$3:$B$4</c:f>
              <c:numCache>
                <c:formatCode>0%</c:formatCode>
                <c:ptCount val="2"/>
                <c:pt idx="0">
                  <c:v>0.83</c:v>
                </c:pt>
                <c:pt idx="1">
                  <c:v>0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87-4D8B-B2A5-840CAC6A8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0374312"/>
        <c:axId val="420375952"/>
      </c:barChart>
      <c:catAx>
        <c:axId val="420374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5952"/>
        <c:crosses val="autoZero"/>
        <c:auto val="1"/>
        <c:lblAlgn val="ctr"/>
        <c:lblOffset val="100"/>
        <c:noMultiLvlLbl val="0"/>
      </c:catAx>
      <c:valAx>
        <c:axId val="42037595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4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4056839401475589"/>
          <c:y val="2.6396162372109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8984620133133044E-2"/>
          <c:y val="0.13462042809776065"/>
          <c:w val="0.94950472460077517"/>
          <c:h val="0.812635240180514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8</c:f>
              <c:strCache>
                <c:ptCount val="1"/>
                <c:pt idx="0">
                  <c:v>% Cinemagoer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8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Sheet1!$B$9:$B$18</c:f>
              <c:numCache>
                <c:formatCode>0%</c:formatCode>
                <c:ptCount val="10"/>
                <c:pt idx="0">
                  <c:v>0.77</c:v>
                </c:pt>
                <c:pt idx="1">
                  <c:v>0.76</c:v>
                </c:pt>
                <c:pt idx="2">
                  <c:v>0.78</c:v>
                </c:pt>
                <c:pt idx="3">
                  <c:v>0.8</c:v>
                </c:pt>
                <c:pt idx="4">
                  <c:v>0.83</c:v>
                </c:pt>
                <c:pt idx="5">
                  <c:v>0.82</c:v>
                </c:pt>
                <c:pt idx="6">
                  <c:v>0.85</c:v>
                </c:pt>
                <c:pt idx="7">
                  <c:v>0.85</c:v>
                </c:pt>
                <c:pt idx="8">
                  <c:v>0.85</c:v>
                </c:pt>
                <c:pt idx="9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4A-4BA5-B584-9D19781B7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0373000"/>
        <c:axId val="420375624"/>
      </c:barChart>
      <c:catAx>
        <c:axId val="4203730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5624"/>
        <c:crosses val="autoZero"/>
        <c:auto val="1"/>
        <c:lblAlgn val="ctr"/>
        <c:lblOffset val="100"/>
        <c:noMultiLvlLbl val="0"/>
      </c:catAx>
      <c:valAx>
        <c:axId val="420375624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3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2596850938377980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ABC1 Women love the boutique experience - they account for...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87-4D8B-B2A5-840CAC6A862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87-4D8B-B2A5-840CAC6A862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</c:f>
              <c:strCache>
                <c:ptCount val="2"/>
                <c:pt idx="0">
                  <c:v>Multiplex cinema audience</c:v>
                </c:pt>
                <c:pt idx="1">
                  <c:v>Independent cinema audience </c:v>
                </c:pt>
              </c:strCache>
            </c:strRef>
          </c:cat>
          <c:val>
            <c:numRef>
              <c:f>Sheet1!$B$3:$B$4</c:f>
              <c:numCache>
                <c:formatCode>0%</c:formatCode>
                <c:ptCount val="2"/>
                <c:pt idx="0">
                  <c:v>0.3</c:v>
                </c:pt>
                <c:pt idx="1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87-4D8B-B2A5-840CAC6A8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0374312"/>
        <c:axId val="420375952"/>
      </c:barChart>
      <c:catAx>
        <c:axId val="420374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5952"/>
        <c:crosses val="autoZero"/>
        <c:auto val="1"/>
        <c:lblAlgn val="ctr"/>
        <c:lblOffset val="100"/>
        <c:noMultiLvlLbl val="0"/>
      </c:catAx>
      <c:valAx>
        <c:axId val="42037595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4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8/15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8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2850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8154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8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8.emf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8.emf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8.emf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8.emf"/><Relationship Id="rId2" Type="http://schemas.openxmlformats.org/officeDocument/2006/relationships/tags" Target="../tags/tag155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8.emf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8.emf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8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8.emf"/><Relationship Id="rId2" Type="http://schemas.openxmlformats.org/officeDocument/2006/relationships/tags" Target="../tags/tag159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2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" t="3595" r="68462" b="84596"/>
          <a:stretch/>
        </p:blipFill>
        <p:spPr>
          <a:xfrm>
            <a:off x="0" y="195941"/>
            <a:ext cx="3545263" cy="80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545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" t="6436" r="69250" b="88379"/>
          <a:stretch/>
        </p:blipFill>
        <p:spPr>
          <a:xfrm>
            <a:off x="0" y="390524"/>
            <a:ext cx="3449240" cy="355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38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78503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014323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1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873722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1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26165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09176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1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237239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1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296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2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07268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4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74183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553129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873991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88955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667166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86867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12114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4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50542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4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9" t="3595" r="68462" b="84596"/>
          <a:stretch/>
        </p:blipFill>
        <p:spPr>
          <a:xfrm>
            <a:off x="0" y="195941"/>
            <a:ext cx="3545263" cy="80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026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9" t="6436" r="69250" b="88379"/>
          <a:stretch/>
        </p:blipFill>
        <p:spPr>
          <a:xfrm>
            <a:off x="0" y="390524"/>
            <a:ext cx="3449240" cy="355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1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3633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5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50515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22385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572817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6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85045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6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247937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6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44617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6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794866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7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60109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12329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06923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7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872513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7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54918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8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206378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84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163023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8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57511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9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" t="3595" r="68462" b="84596"/>
          <a:stretch/>
        </p:blipFill>
        <p:spPr>
          <a:xfrm>
            <a:off x="0" y="195941"/>
            <a:ext cx="3545263" cy="80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54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9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9" t="6436" r="69250" b="88379"/>
          <a:stretch/>
        </p:blipFill>
        <p:spPr>
          <a:xfrm>
            <a:off x="0" y="390524"/>
            <a:ext cx="3449240" cy="355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96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560838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682085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0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241945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680711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96392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1749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1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124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1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340145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1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26124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1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96216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045412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2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714785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2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92621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2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99669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3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4857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3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760138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5" y="1753"/>
          <a:ext cx="2155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3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5" y="1753"/>
                        <a:ext cx="2155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7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1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1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6"/>
            <a:ext cx="5977219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1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2" y="1371822"/>
            <a:ext cx="8259575" cy="214059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1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2" y="1576697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1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2"/>
            <a:ext cx="8426276" cy="4210169"/>
          </a:xfrm>
          <a:prstGeom prst="rect">
            <a:avLst/>
          </a:prstGeom>
        </p:spPr>
        <p:txBody>
          <a:bodyPr/>
          <a:lstStyle>
            <a:lvl1pPr>
              <a:lnSpc>
                <a:spcPts val="2001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2001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1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772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1649401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3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1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4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81611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4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46986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9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05655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5050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5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1400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5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58774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5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4289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379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6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57870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6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66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9488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50142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7578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36435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611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6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210678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194667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8681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338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9117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8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34018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8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17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8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2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801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8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3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10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1" name="Picture 10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56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9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809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172832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9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0"/>
            <a:ext cx="10555363" cy="4291030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715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9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6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06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0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3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57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80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  <p:pic>
        <p:nvPicPr>
          <p:cNvPr id="9" name="Picture 8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8" y="6981007"/>
            <a:ext cx="1666561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46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6816720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395414"/>
            <a:ext cx="10555362" cy="4300537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6600"/>
              </a:lnSpc>
              <a:buNone/>
              <a:defRPr sz="6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422842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8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7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7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4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04.xml"/><Relationship Id="rId21" Type="http://schemas.openxmlformats.org/officeDocument/2006/relationships/tags" Target="../tags/tag77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vmlDrawing" Target="../drawings/vmlDrawing76.v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11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oleObject" Target="../embeddings/oleObject76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2.xml"/><Relationship Id="rId21" Type="http://schemas.openxmlformats.org/officeDocument/2006/relationships/tags" Target="../tags/tag96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0" Type="http://schemas.openxmlformats.org/officeDocument/2006/relationships/vmlDrawing" Target="../drawings/vmlDrawing95.v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29.xml"/><Relationship Id="rId19" Type="http://schemas.openxmlformats.org/officeDocument/2006/relationships/theme" Target="../theme/theme13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Relationship Id="rId22" Type="http://schemas.openxmlformats.org/officeDocument/2006/relationships/oleObject" Target="../embeddings/oleObject95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40.xml"/><Relationship Id="rId21" Type="http://schemas.openxmlformats.org/officeDocument/2006/relationships/vmlDrawing" Target="../drawings/vmlDrawing114.v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theme" Target="../theme/theme14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oleObject" Target="../embeddings/oleObject114.bin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tags" Target="../tags/tag11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oleObject" Target="../embeddings/oleObject134.bin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tags" Target="../tags/tag135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vmlDrawing" Target="../drawings/vmlDrawing134.v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theme" Target="../theme/theme15.xml"/><Relationship Id="rId27" Type="http://schemas.openxmlformats.org/officeDocument/2006/relationships/image" Target="../media/image2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theme" Target="../theme/theme16.xml"/><Relationship Id="rId18" Type="http://schemas.openxmlformats.org/officeDocument/2006/relationships/image" Target="../media/image8.emf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79.xml"/><Relationship Id="rId16" Type="http://schemas.openxmlformats.org/officeDocument/2006/relationships/oleObject" Target="../embeddings/oleObject148.bin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tags" Target="../tags/tag149.xml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vmlDrawing" Target="../drawings/vmlDrawing148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3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58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99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703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23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981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1"/>
            <a:ext cx="13442950" cy="7561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1" y="6647385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16" y="6854435"/>
            <a:ext cx="1202416" cy="41846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312" y="6957529"/>
            <a:ext cx="1235710" cy="195580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1790300" y="6776186"/>
            <a:ext cx="0" cy="57751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4539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  <p:sldLayoutId id="2147484067" r:id="rId12"/>
    <p:sldLayoutId id="2147484068" r:id="rId13"/>
    <p:sldLayoutId id="2147484069" r:id="rId14"/>
    <p:sldLayoutId id="2147484070" r:id="rId15"/>
    <p:sldLayoutId id="2147484071" r:id="rId16"/>
    <p:sldLayoutId id="2147484072" r:id="rId17"/>
    <p:sldLayoutId id="2147484073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37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1"/>
            <a:ext cx="13442950" cy="7561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420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8415" y="7233159"/>
            <a:ext cx="1235710" cy="195580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1234675" y="7153109"/>
            <a:ext cx="0" cy="32742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9838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5" r:id="rId1"/>
    <p:sldLayoutId id="2147484076" r:id="rId2"/>
    <p:sldLayoutId id="2147484077" r:id="rId3"/>
    <p:sldLayoutId id="2147484078" r:id="rId4"/>
    <p:sldLayoutId id="2147484079" r:id="rId5"/>
    <p:sldLayoutId id="2147484080" r:id="rId6"/>
    <p:sldLayoutId id="2147484081" r:id="rId7"/>
    <p:sldLayoutId id="2147484082" r:id="rId8"/>
    <p:sldLayoutId id="2147484083" r:id="rId9"/>
    <p:sldLayoutId id="2147484084" r:id="rId10"/>
    <p:sldLayoutId id="2147484085" r:id="rId11"/>
    <p:sldLayoutId id="2147484086" r:id="rId12"/>
    <p:sldLayoutId id="2147484087" r:id="rId13"/>
    <p:sldLayoutId id="2147484088" r:id="rId14"/>
    <p:sldLayoutId id="2147484089" r:id="rId15"/>
    <p:sldLayoutId id="2147484090" r:id="rId16"/>
    <p:sldLayoutId id="2147484091" r:id="rId17"/>
    <p:sldLayoutId id="2147484092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893" name="think-cell Slide" r:id="rId23" imgW="6350000" imgH="6350000" progId="">
                  <p:embed/>
                </p:oleObj>
              </mc:Choice>
              <mc:Fallback>
                <p:oleObj name="think-cell Slide" r:id="rId2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1"/>
            <a:ext cx="13442950" cy="7561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1" y="6647385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16" y="6854435"/>
            <a:ext cx="1202416" cy="418462"/>
          </a:xfrm>
          <a:prstGeom prst="rect">
            <a:avLst/>
          </a:prstGeom>
        </p:spPr>
      </p:pic>
      <p:sp>
        <p:nvSpPr>
          <p:cNvPr id="9" name="Text Placeholder 13"/>
          <p:cNvSpPr txBox="1">
            <a:spLocks/>
          </p:cNvSpPr>
          <p:nvPr userDrawn="1"/>
        </p:nvSpPr>
        <p:spPr bwMode="gray">
          <a:xfrm>
            <a:off x="7209430" y="6870276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marL="0" indent="0" algn="r" defTabSz="961844" rtl="0" eaLnBrk="1" latinLnBrk="0" hangingPunct="1">
              <a:lnSpc>
                <a:spcPts val="842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200" b="1" kern="1200" spc="5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0" spc="150" baseline="0" dirty="0">
                <a:latin typeface="Arial" charset="0"/>
                <a:ea typeface="Arial" charset="0"/>
                <a:cs typeface="Arial" charset="0"/>
              </a:rPr>
              <a:t>#</a:t>
            </a:r>
            <a:r>
              <a:rPr lang="en-GB" sz="1200" b="0" spc="150" baseline="0" dirty="0">
                <a:latin typeface="Arial" charset="0"/>
                <a:ea typeface="Arial" charset="0"/>
                <a:cs typeface="Arial" charset="0"/>
              </a:rPr>
              <a:t>DCMUPFRONTS</a:t>
            </a:r>
          </a:p>
        </p:txBody>
      </p:sp>
    </p:spTree>
    <p:extLst>
      <p:ext uri="{BB962C8B-B14F-4D97-AF65-F5344CB8AC3E}">
        <p14:creationId xmlns:p14="http://schemas.microsoft.com/office/powerpoint/2010/main" val="3072687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2" r:id="rId9"/>
    <p:sldLayoutId id="2147484103" r:id="rId10"/>
    <p:sldLayoutId id="2147484104" r:id="rId11"/>
    <p:sldLayoutId id="2147484105" r:id="rId12"/>
    <p:sldLayoutId id="2147484106" r:id="rId13"/>
    <p:sldLayoutId id="2147484107" r:id="rId14"/>
    <p:sldLayoutId id="2147484108" r:id="rId15"/>
    <p:sldLayoutId id="2147484109" r:id="rId16"/>
    <p:sldLayoutId id="2147484110" r:id="rId17"/>
    <p:sldLayoutId id="2147484111" r:id="rId18"/>
    <p:sldLayoutId id="2147484112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373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745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  <p:sldLayoutId id="2147484123" r:id="rId10"/>
    <p:sldLayoutId id="2147484124" r:id="rId11"/>
    <p:sldLayoutId id="2147484125" r:id="rId12"/>
    <p:sldLayoutId id="2147484126" r:id="rId13"/>
    <p:sldLayoutId id="2147484127" r:id="rId14"/>
    <p:sldLayoutId id="2147484128" r:id="rId15"/>
    <p:sldLayoutId id="2147484129" r:id="rId16"/>
    <p:sldLayoutId id="2147484130" r:id="rId17"/>
    <p:sldLayoutId id="2147484131" r:id="rId18"/>
    <p:sldLayoutId id="2147484132" r:id="rId19"/>
    <p:sldLayoutId id="2147484133" r:id="rId20"/>
    <p:sldLayoutId id="2147484134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799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 descr="DCM LEFT LOGO ALL-05.eps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935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  <p:sldLayoutId id="2147484147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81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63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39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46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28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928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479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768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6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8.jpeg"/><Relationship Id="rId7" Type="http://schemas.openxmlformats.org/officeDocument/2006/relationships/image" Target="../media/image23.jpeg"/><Relationship Id="rId12" Type="http://schemas.openxmlformats.org/officeDocument/2006/relationships/image" Target="../media/image2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9.xml"/><Relationship Id="rId6" Type="http://schemas.openxmlformats.org/officeDocument/2006/relationships/image" Target="../media/image22.jpeg"/><Relationship Id="rId11" Type="http://schemas.openxmlformats.org/officeDocument/2006/relationships/image" Target="../media/image27.png"/><Relationship Id="rId5" Type="http://schemas.openxmlformats.org/officeDocument/2006/relationships/image" Target="../media/image19.jpeg"/><Relationship Id="rId10" Type="http://schemas.openxmlformats.org/officeDocument/2006/relationships/image" Target="../media/image26.jpeg"/><Relationship Id="rId4" Type="http://schemas.openxmlformats.org/officeDocument/2006/relationships/image" Target="../media/image21.png"/><Relationship Id="rId9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E1D0EEDD-4A6D-C54B-BB48-6C9EB52B22F0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28" r="9063" b="22485"/>
          <a:stretch/>
        </p:blipFill>
        <p:spPr>
          <a:xfrm>
            <a:off x="0" y="0"/>
            <a:ext cx="13442950" cy="709930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8F928EC-7E68-4F88-83A8-5037F72FB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19254" y="1838848"/>
            <a:ext cx="12331696" cy="709383"/>
          </a:xfrm>
        </p:spPr>
        <p:txBody>
          <a:bodyPr/>
          <a:lstStyle/>
          <a:p>
            <a:pPr>
              <a:lnSpc>
                <a:spcPts val="6000"/>
              </a:lnSpc>
            </a:pPr>
            <a:r>
              <a:rPr lang="en-GB" sz="8000" dirty="0">
                <a:solidFill>
                  <a:schemeClr val="accent3"/>
                </a:solidFill>
                <a:effectLst>
                  <a:outerShdw blurRad="50800" dist="12700" dir="2700000" algn="tl" rotWithShape="0">
                    <a:prstClr val="black">
                      <a:alpha val="40000"/>
                    </a:prstClr>
                  </a:outerShdw>
                </a:effectLst>
              </a:rPr>
              <a:t>Abc1 women </a:t>
            </a:r>
            <a:br>
              <a:rPr lang="en-GB" dirty="0">
                <a:solidFill>
                  <a:schemeClr val="accent3"/>
                </a:solidFill>
                <a:effectLst>
                  <a:outerShdw blurRad="50800" dist="127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n-GB" sz="6000" dirty="0">
                <a:solidFill>
                  <a:schemeClr val="accent3"/>
                </a:solidFill>
                <a:effectLst>
                  <a:outerShdw blurRad="50800" dist="12700" dir="2700000" algn="tl" rotWithShape="0">
                    <a:prstClr val="black">
                      <a:alpha val="40000"/>
                    </a:prstClr>
                  </a:outerShdw>
                </a:effectLst>
              </a:rPr>
              <a:t>treat themselves</a:t>
            </a:r>
            <a:endParaRPr lang="en-US" sz="6000" dirty="0">
              <a:solidFill>
                <a:schemeClr val="accent3"/>
              </a:solidFill>
              <a:effectLst>
                <a:outerShdw blurRad="50800" dist="127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8542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97126-F4D6-4ED0-B9C0-441C241D0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ABC1 WOMEN SEEK THE FINEST CINEMA EXPERIENC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BCE49D-E1DB-4F00-9587-6DFE5B2AC2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14614" y="7192216"/>
            <a:ext cx="5281324" cy="246221"/>
          </a:xfrm>
        </p:spPr>
        <p:txBody>
          <a:bodyPr/>
          <a:lstStyle/>
          <a:p>
            <a:pPr lvl="0"/>
            <a:r>
              <a:rPr lang="en-GB" b="1" dirty="0"/>
              <a:t>Source</a:t>
            </a:r>
            <a:r>
              <a:rPr lang="en-GB" dirty="0"/>
              <a:t>: TGI Q2 2019. Target: ABC1 women.  Regular multiplex cinemagoers – visit a Cineworld, Odeon or Vue most often.  Regular independent cinemagoers – visit an Independent cinema most often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0EC8DC-A3A8-4F0A-9C28-E3F979D6A0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5">
                    <a:lumMod val="75000"/>
                  </a:schemeClr>
                </a:solidFill>
              </a:rPr>
              <a:t>ABC1 Women love the boutique experience and account for 40% of the independent cinema audience.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A1509DA-9710-4840-9B1C-DF22657C6B37}"/>
              </a:ext>
            </a:extLst>
          </p:cNvPr>
          <p:cNvGrpSpPr/>
          <p:nvPr/>
        </p:nvGrpSpPr>
        <p:grpSpPr>
          <a:xfrm>
            <a:off x="1096530" y="1486401"/>
            <a:ext cx="11249891" cy="5027180"/>
            <a:chOff x="849745" y="1438275"/>
            <a:chExt cx="11249891" cy="5027180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1F72B244-0C47-4F5B-9417-40546E326945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07487073"/>
                </p:ext>
              </p:extLst>
            </p:nvPr>
          </p:nvGraphicFramePr>
          <p:xfrm>
            <a:off x="849745" y="1438275"/>
            <a:ext cx="11249891" cy="50271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CDFC6850-31AA-47AB-8F4E-01E2691FDC4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80993" y="2502568"/>
              <a:ext cx="2083123" cy="556124"/>
            </a:xfrm>
            <a:prstGeom prst="straightConnector1">
              <a:avLst/>
            </a:prstGeom>
            <a:ln w="15875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D3F3E3D-6587-4BB7-8650-314185B22FB5}"/>
                </a:ext>
              </a:extLst>
            </p:cNvPr>
            <p:cNvSpPr txBox="1"/>
            <p:nvPr/>
          </p:nvSpPr>
          <p:spPr>
            <a:xfrm>
              <a:off x="6070236" y="2388549"/>
              <a:ext cx="119750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>
                  <a:solidFill>
                    <a:schemeClr val="accent3"/>
                  </a:solidFill>
                </a:rPr>
                <a:t>+33% uplift</a:t>
              </a:r>
              <a:endParaRPr lang="en-US" sz="1200" b="1" dirty="0" err="1">
                <a:solidFill>
                  <a:schemeClr val="accent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554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mersive escapism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81059" y="6088456"/>
            <a:ext cx="4140005" cy="1729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3"/>
                </a:solidFill>
              </a:rPr>
              <a:t>Drama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One to watch: Downton Abbey (Index: 210)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September 2019</a:t>
            </a:r>
            <a:endParaRPr lang="en-US" sz="1200" dirty="0">
              <a:solidFill>
                <a:schemeClr val="accent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4669371" y="6088456"/>
            <a:ext cx="4128763" cy="1729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3"/>
                </a:solidFill>
              </a:rPr>
              <a:t>Musicals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One to watch: Cats (Index: 140)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December 2019</a:t>
            </a:r>
            <a:endParaRPr lang="en-US" sz="1200" dirty="0">
              <a:solidFill>
                <a:schemeClr val="accent3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8946441" y="6088456"/>
            <a:ext cx="4165615" cy="1729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3"/>
                </a:solidFill>
              </a:rPr>
              <a:t>Crime/Thriller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One to watch: The Goldfinch (Index: 188)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September 2019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8505825" y="7128009"/>
            <a:ext cx="4792663" cy="3693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Top-indexing genres source: TGI Q2 2019</a:t>
            </a:r>
            <a:br>
              <a:rPr lang="en-GB" dirty="0"/>
            </a:br>
            <a:r>
              <a:rPr lang="en-GB" dirty="0"/>
              <a:t>Film profile source - DCM Planner, profiles based on comparative film profiles from CAA Film Monitor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0887528" cy="436608"/>
          </a:xfrm>
        </p:spPr>
        <p:txBody>
          <a:bodyPr/>
          <a:lstStyle/>
          <a:p>
            <a:r>
              <a:rPr lang="en-US" dirty="0"/>
              <a:t>High quality drama, feel-good musicals, intense crime – ABC1 Women want to escape and be immersed in a story</a:t>
            </a:r>
          </a:p>
        </p:txBody>
      </p:sp>
      <p:pic>
        <p:nvPicPr>
          <p:cNvPr id="25" name="Picture 2" descr="http://images.mymovies.net/images/film/cin/550x820/fid19251.jpg">
            <a:extLst>
              <a:ext uri="{FF2B5EF4-FFF2-40B4-BE49-F238E27FC236}">
                <a16:creationId xmlns:a16="http://schemas.microsoft.com/office/drawing/2014/main" id="{405FDDD5-86E7-4E30-9804-A8785C2F5865}"/>
              </a:ext>
            </a:extLst>
          </p:cNvPr>
          <p:cNvPicPr>
            <a:picLocks noGrp="1" noChangeAspect="1" noChangeArrowheads="1"/>
          </p:cNvPicPr>
          <p:nvPr>
            <p:ph type="pic" sz="quarter" idx="16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5" b="12257"/>
          <a:stretch/>
        </p:blipFill>
        <p:spPr bwMode="auto">
          <a:xfrm>
            <a:off x="381059" y="1395413"/>
            <a:ext cx="4119682" cy="4560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1080" name="Picture 8" descr="http://images.mymovies.net/images/film/cin/550x820/fid19578.jpg">
            <a:extLst>
              <a:ext uri="{FF2B5EF4-FFF2-40B4-BE49-F238E27FC236}">
                <a16:creationId xmlns:a16="http://schemas.microsoft.com/office/drawing/2014/main" id="{021CA056-7BE2-40AB-AF0F-3929A782EC1A}"/>
              </a:ext>
            </a:extLst>
          </p:cNvPr>
          <p:cNvPicPr>
            <a:picLocks noGrp="1" noChangeAspect="1" noChangeArrowheads="1"/>
          </p:cNvPicPr>
          <p:nvPr>
            <p:ph type="pic" sz="quarter" idx="22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36" b="8476"/>
          <a:stretch/>
        </p:blipFill>
        <p:spPr bwMode="auto">
          <a:xfrm>
            <a:off x="8946441" y="1395413"/>
            <a:ext cx="4130268" cy="4560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9026" name="Picture 2" descr="http://images.mymovies.net/images/film/cin/550x820/fid19725.jpg">
            <a:extLst>
              <a:ext uri="{FF2B5EF4-FFF2-40B4-BE49-F238E27FC236}">
                <a16:creationId xmlns:a16="http://schemas.microsoft.com/office/drawing/2014/main" id="{911E7166-A451-43F9-AD1D-A4114D6BA6F3}"/>
              </a:ext>
            </a:extLst>
          </p:cNvPr>
          <p:cNvPicPr>
            <a:picLocks noGrp="1" noChangeAspect="1" noChangeArrowheads="1"/>
          </p:cNvPicPr>
          <p:nvPr>
            <p:ph type="pic" sz="quarter" idx="19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183" t="6835" r="-7893" b="6835"/>
          <a:stretch/>
        </p:blipFill>
        <p:spPr bwMode="auto">
          <a:xfrm>
            <a:off x="4666661" y="1395413"/>
            <a:ext cx="4113860" cy="456088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50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63BAB9B-90CC-4A70-85CB-A60F965BC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 them with cinema in 2019 &amp; 2020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F691E94-CDC5-4414-938F-98CA8548E16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732704" y="3706226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Downton Abbey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210 index 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B278B9-1341-445C-880C-3352D51F7A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96051" y="7253555"/>
            <a:ext cx="6802438" cy="12311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b="1" dirty="0"/>
              <a:t>Source: </a:t>
            </a:r>
            <a:r>
              <a:rPr lang="en-GB" dirty="0"/>
              <a:t>DCM Aston campaign planner.  Index vs. % of ABC1 Women in UK population.  Based on Kantar TNS comparative film data   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AA96F5-0DD5-48B3-8E22-775B5A669E1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2412720" cy="436608"/>
          </a:xfrm>
        </p:spPr>
        <p:txBody>
          <a:bodyPr/>
          <a:lstStyle/>
          <a:p>
            <a:r>
              <a:rPr lang="en-GB" dirty="0"/>
              <a:t>Reach and engage this key audience with a range of highly anticipated releases through 2019 and beyond…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E304C76-18F4-442E-A9D3-89EF27558B3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825368" y="3736415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The Goldfinch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88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733FC12-AB45-4D74-BE81-E865CB1D5C9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928487" y="3727359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Cats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40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4503EA7-7994-4D40-AC47-ED3A841AFB4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031606" y="3736415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Little Women 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232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C73AC181-D8BA-42AF-BE05-8CFDFCDCE6A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10134725" y="3727359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The Secret Garden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74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D631F20-A146-44F0-94A7-D83A4888A9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732704" y="6630511"/>
            <a:ext cx="1820121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The Woman in the Window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88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9216D16-0F2F-45B2-AB2E-0221AD14A37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825368" y="6630511"/>
            <a:ext cx="180617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Judy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211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CC1D12FD-5D26-4716-9D8F-1D2C97F14FB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A Beautiful Day in the </a:t>
            </a:r>
            <a:r>
              <a:rPr lang="en-GB" dirty="0" err="1">
                <a:solidFill>
                  <a:schemeClr val="accent3"/>
                </a:solidFill>
              </a:rPr>
              <a:t>Neighborhood</a:t>
            </a:r>
            <a:r>
              <a:rPr lang="en-GB" dirty="0">
                <a:solidFill>
                  <a:schemeClr val="accent3"/>
                </a:solidFill>
              </a:rPr>
              <a:t> </a:t>
            </a:r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64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4E0B1EA-9A7C-4AD1-8EFF-E69A354BD51A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GB" dirty="0" err="1">
                <a:solidFill>
                  <a:schemeClr val="accent3"/>
                </a:solidFill>
              </a:rPr>
              <a:t>Jojo</a:t>
            </a:r>
            <a:r>
              <a:rPr lang="en-GB" dirty="0">
                <a:solidFill>
                  <a:schemeClr val="accent3"/>
                </a:solidFill>
              </a:rPr>
              <a:t> Rabbit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35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CAFE6FD-17A5-4138-8E21-1C881C8058C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0145180" y="6630511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Legally Blonde 3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53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31" name="Picture 2" descr="http://images.mymovies.net/images/film/cin/550x820/fid19251.jpg">
            <a:extLst>
              <a:ext uri="{FF2B5EF4-FFF2-40B4-BE49-F238E27FC236}">
                <a16:creationId xmlns:a16="http://schemas.microsoft.com/office/drawing/2014/main" id="{39010B33-DE7B-468E-9025-D1A93AD86C39}"/>
              </a:ext>
            </a:extLst>
          </p:cNvPr>
          <p:cNvPicPr>
            <a:picLocks noGrp="1" noChangeAspect="1" noChangeArrowheads="1"/>
          </p:cNvPicPr>
          <p:nvPr>
            <p:ph type="pic" sz="quarter" idx="3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 bwMode="auto">
          <a:xfrm>
            <a:off x="1728786" y="1294548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Placeholder 35">
            <a:extLst>
              <a:ext uri="{FF2B5EF4-FFF2-40B4-BE49-F238E27FC236}">
                <a16:creationId xmlns:a16="http://schemas.microsoft.com/office/drawing/2014/main" id="{4DB1D68B-78AC-49CB-9EAD-1AA06EC27B71}"/>
              </a:ext>
            </a:extLst>
          </p:cNvPr>
          <p:cNvPicPr>
            <a:picLocks noGrp="1" noChangeAspect="1"/>
          </p:cNvPicPr>
          <p:nvPr>
            <p:ph type="pic" sz="quarter" idx="47"/>
          </p:nvPr>
        </p:nvPicPr>
        <p:blipFill>
          <a:blip r:embed="rId4"/>
          <a:srcRect l="33081" r="33081"/>
          <a:stretch>
            <a:fillRect/>
          </a:stretch>
        </p:blipFill>
        <p:spPr>
          <a:xfrm>
            <a:off x="1728786" y="4179861"/>
            <a:ext cx="1599050" cy="2362610"/>
          </a:xfrm>
          <a:prstGeom prst="rect">
            <a:avLst/>
          </a:prstGeom>
        </p:spPr>
      </p:pic>
      <p:pic>
        <p:nvPicPr>
          <p:cNvPr id="33" name="Picture 8" descr="http://images.mymovies.net/images/film/cin/550x820/fid19578.jpg">
            <a:extLst>
              <a:ext uri="{FF2B5EF4-FFF2-40B4-BE49-F238E27FC236}">
                <a16:creationId xmlns:a16="http://schemas.microsoft.com/office/drawing/2014/main" id="{E6B84370-6947-4611-84EC-FA85A44FF9D9}"/>
              </a:ext>
            </a:extLst>
          </p:cNvPr>
          <p:cNvPicPr>
            <a:picLocks noGrp="1" noChangeAspect="1" noChangeArrowheads="1"/>
          </p:cNvPicPr>
          <p:nvPr>
            <p:ph type="pic" sz="quarter" idx="37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 bwMode="auto">
          <a:xfrm>
            <a:off x="3827002" y="1294548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http://images.mymovies.net/images/film/cin/550x820/fid19501.jpg">
            <a:extLst>
              <a:ext uri="{FF2B5EF4-FFF2-40B4-BE49-F238E27FC236}">
                <a16:creationId xmlns:a16="http://schemas.microsoft.com/office/drawing/2014/main" id="{CAEDE1DE-41CC-4387-BD80-9EF3E33322C5}"/>
              </a:ext>
            </a:extLst>
          </p:cNvPr>
          <p:cNvPicPr>
            <a:picLocks noGrp="1" noChangeAspect="1" noChangeArrowheads="1"/>
          </p:cNvPicPr>
          <p:nvPr>
            <p:ph type="pic" sz="quarter" idx="48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>
            <a:fillRect/>
          </a:stretch>
        </p:blipFill>
        <p:spPr bwMode="auto">
          <a:xfrm>
            <a:off x="3827002" y="4179861"/>
            <a:ext cx="1599050" cy="2362610"/>
          </a:xfrm>
          <a:prstGeom prst="rect">
            <a:avLst/>
          </a:prstGeom>
          <a:noFill/>
          <a:ln w="1270">
            <a:solidFill>
              <a:schemeClr val="accent5">
                <a:alpha val="39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0" descr="Tom Hanks in A Beautiful Day in the Neighborhood (2019)">
            <a:extLst>
              <a:ext uri="{FF2B5EF4-FFF2-40B4-BE49-F238E27FC236}">
                <a16:creationId xmlns:a16="http://schemas.microsoft.com/office/drawing/2014/main" id="{6A442BA3-5F53-418B-90CA-C37EFCE797F5}"/>
              </a:ext>
            </a:extLst>
          </p:cNvPr>
          <p:cNvPicPr>
            <a:picLocks noGrp="1" noChangeAspect="1" noChangeArrowheads="1"/>
          </p:cNvPicPr>
          <p:nvPr>
            <p:ph type="pic" sz="quarter" idx="49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76" r="27476"/>
          <a:stretch>
            <a:fillRect/>
          </a:stretch>
        </p:blipFill>
        <p:spPr bwMode="auto">
          <a:xfrm>
            <a:off x="5925218" y="4179861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2113" name="Picture Placeholder 1412112">
            <a:extLst>
              <a:ext uri="{FF2B5EF4-FFF2-40B4-BE49-F238E27FC236}">
                <a16:creationId xmlns:a16="http://schemas.microsoft.com/office/drawing/2014/main" id="{979C3CCC-1C60-4170-8B8C-9B229327144B}"/>
              </a:ext>
            </a:extLst>
          </p:cNvPr>
          <p:cNvPicPr>
            <a:picLocks noGrp="1" noChangeAspect="1"/>
          </p:cNvPicPr>
          <p:nvPr>
            <p:ph type="pic" sz="quarter" idx="51"/>
          </p:nvPr>
        </p:nvPicPr>
        <p:blipFill>
          <a:blip r:embed="rId8"/>
          <a:srcRect l="16233" r="16233"/>
          <a:stretch>
            <a:fillRect/>
          </a:stretch>
        </p:blipFill>
        <p:spPr>
          <a:xfrm>
            <a:off x="10121651" y="4179861"/>
            <a:ext cx="1599050" cy="2362610"/>
          </a:xfrm>
          <a:prstGeom prst="rect">
            <a:avLst/>
          </a:prstGeom>
        </p:spPr>
      </p:pic>
      <p:pic>
        <p:nvPicPr>
          <p:cNvPr id="1409026" name="Picture 2" descr="Eliza Scanlen in Little Women (2019)">
            <a:extLst>
              <a:ext uri="{FF2B5EF4-FFF2-40B4-BE49-F238E27FC236}">
                <a16:creationId xmlns:a16="http://schemas.microsoft.com/office/drawing/2014/main" id="{DD5EF9D9-561B-4404-ACA3-B98545150693}"/>
              </a:ext>
            </a:extLst>
          </p:cNvPr>
          <p:cNvPicPr>
            <a:picLocks noGrp="1" noChangeAspect="1" noChangeArrowheads="1"/>
          </p:cNvPicPr>
          <p:nvPr>
            <p:ph type="pic" sz="quarter" idx="43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93" r="34145"/>
          <a:stretch/>
        </p:blipFill>
        <p:spPr bwMode="auto">
          <a:xfrm>
            <a:off x="8023434" y="1294548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9028" name="Picture 4" descr="Taika Waititi, Scarlett Johansson, and Roman Griffin Davis in Jojo Rabbit (2019)">
            <a:extLst>
              <a:ext uri="{FF2B5EF4-FFF2-40B4-BE49-F238E27FC236}">
                <a16:creationId xmlns:a16="http://schemas.microsoft.com/office/drawing/2014/main" id="{57BC0B6D-E5B4-440B-8957-59C200B1BA75}"/>
              </a:ext>
            </a:extLst>
          </p:cNvPr>
          <p:cNvPicPr>
            <a:picLocks noGrp="1" noChangeAspect="1" noChangeArrowheads="1"/>
          </p:cNvPicPr>
          <p:nvPr>
            <p:ph type="pic" sz="quarter" idx="50"/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17" r="30667"/>
          <a:stretch/>
        </p:blipFill>
        <p:spPr bwMode="auto">
          <a:xfrm>
            <a:off x="8023434" y="4179861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2111" name="Picture Placeholder 1412110">
            <a:extLst>
              <a:ext uri="{FF2B5EF4-FFF2-40B4-BE49-F238E27FC236}">
                <a16:creationId xmlns:a16="http://schemas.microsoft.com/office/drawing/2014/main" id="{259FB35E-E98E-4AC5-B0B1-F33083946E56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11"/>
          <a:srcRect t="745" b="745"/>
          <a:stretch>
            <a:fillRect/>
          </a:stretch>
        </p:blipFill>
        <p:spPr>
          <a:xfrm>
            <a:off x="10121651" y="1294548"/>
            <a:ext cx="1599050" cy="2362610"/>
          </a:xfrm>
          <a:prstGeom prst="rect">
            <a:avLst/>
          </a:prstGeom>
        </p:spPr>
      </p:pic>
      <p:pic>
        <p:nvPicPr>
          <p:cNvPr id="1410050" name="Picture 2" descr="http://images.mymovies.net/images/film/cin/550x820/fid19725.jpg">
            <a:extLst>
              <a:ext uri="{FF2B5EF4-FFF2-40B4-BE49-F238E27FC236}">
                <a16:creationId xmlns:a16="http://schemas.microsoft.com/office/drawing/2014/main" id="{231A7CAE-717B-4FBD-ABBB-84B44E1EAC4D}"/>
              </a:ext>
            </a:extLst>
          </p:cNvPr>
          <p:cNvPicPr>
            <a:picLocks noGrp="1" noChangeAspect="1" noChangeArrowheads="1"/>
          </p:cNvPicPr>
          <p:nvPr>
            <p:ph type="pic" sz="quarter" idx="40"/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192" r="-9192" b="-17214"/>
          <a:stretch/>
        </p:blipFill>
        <p:spPr bwMode="auto">
          <a:xfrm>
            <a:off x="5925218" y="1294548"/>
            <a:ext cx="1599050" cy="236261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87693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8CBDF9-9C6E-6945-8772-406780799B9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501" t="7546" r="9897" b="32833"/>
          <a:stretch/>
        </p:blipFill>
        <p:spPr>
          <a:xfrm>
            <a:off x="0" y="1"/>
            <a:ext cx="13442950" cy="7067550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5E729BC5-68C8-44B4-9D69-C92F9E5503D8}"/>
              </a:ext>
            </a:extLst>
          </p:cNvPr>
          <p:cNvSpPr/>
          <p:nvPr/>
        </p:nvSpPr>
        <p:spPr>
          <a:xfrm>
            <a:off x="0" y="4458"/>
            <a:ext cx="13442949" cy="7067550"/>
          </a:xfrm>
          <a:prstGeom prst="rect">
            <a:avLst/>
          </a:prstGeom>
          <a:solidFill>
            <a:schemeClr val="accent3">
              <a:alpha val="87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43FB7F10-5FB5-484C-ABE9-61D0034A1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ABC1 women cinemagoers like to treat themselve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72D64B9-29B6-48BA-BF48-55D69EF65C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With busy daily lives they love to treat themselves to high quality products and experiences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1EFBBF95-8AD3-4147-950B-EB0F3A3C57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51228" y="7191785"/>
            <a:ext cx="3116263" cy="246221"/>
          </a:xfrm>
        </p:spPr>
        <p:txBody>
          <a:bodyPr/>
          <a:lstStyle/>
          <a:p>
            <a:pPr lvl="0">
              <a:buClrTx/>
              <a:buSzTx/>
              <a:defRPr/>
            </a:pPr>
            <a:r>
              <a:rPr lang="en-GB" b="1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Source</a:t>
            </a:r>
            <a:r>
              <a:rPr lang="en-GB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: TGI Q2 2019. 1. IPA Touchpoints 2018.</a:t>
            </a:r>
          </a:p>
          <a:p>
            <a:pPr lvl="0">
              <a:buClrTx/>
              <a:buSzTx/>
              <a:defRPr/>
            </a:pPr>
            <a:r>
              <a:rPr lang="en-GB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Target: ABC1 women cinemagoers.  Index vs. average UK adult.</a:t>
            </a:r>
            <a:endParaRPr lang="en-US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91DB83E-D382-4F0E-BCB5-70664EDD17A0}"/>
              </a:ext>
            </a:extLst>
          </p:cNvPr>
          <p:cNvSpPr/>
          <p:nvPr/>
        </p:nvSpPr>
        <p:spPr>
          <a:xfrm>
            <a:off x="270000" y="1478474"/>
            <a:ext cx="6383593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73%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pay extra for high quality products</a:t>
            </a:r>
            <a:r>
              <a:rPr kumimoji="0" lang="en-GB" sz="1000" b="1" i="0" u="none" strike="noStrike" kern="1200" cap="none" spc="0" normalizeH="0" baseline="6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1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08 vs. </a:t>
            </a:r>
            <a:r>
              <a:rPr lang="en-GB" sz="900" b="1" i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59</a:t>
            </a: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% of UK population)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D29ADBC-9ECA-4E34-932D-8C8BABB4F2C9}"/>
              </a:ext>
            </a:extLst>
          </p:cNvPr>
          <p:cNvSpPr/>
          <p:nvPr/>
        </p:nvSpPr>
        <p:spPr>
          <a:xfrm>
            <a:off x="270000" y="3114352"/>
            <a:ext cx="3820280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‘I cannot resist expensive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perfume’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26)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938701F-EF20-4BBF-8C8F-83B343C50528}"/>
              </a:ext>
            </a:extLst>
          </p:cNvPr>
          <p:cNvSpPr/>
          <p:nvPr/>
        </p:nvSpPr>
        <p:spPr>
          <a:xfrm>
            <a:off x="270001" y="4774508"/>
            <a:ext cx="4835398" cy="1689432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7 in 10 buy toiletries and cosmetics </a:t>
            </a:r>
          </a:p>
          <a:p>
            <a:pPr algn="ctr"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based on the quality of the product</a:t>
            </a:r>
          </a:p>
          <a:p>
            <a:pPr algn="ctr">
              <a:defRPr/>
            </a:pPr>
            <a:r>
              <a:rPr lang="en-GB" sz="900" b="1" i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(Index 109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9DF74A2-45F2-4665-9615-3663775EDD6A}"/>
              </a:ext>
            </a:extLst>
          </p:cNvPr>
          <p:cNvSpPr/>
          <p:nvPr/>
        </p:nvSpPr>
        <p:spPr>
          <a:xfrm>
            <a:off x="5295900" y="4774506"/>
            <a:ext cx="3552824" cy="1696785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55% enjoy spending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money dining out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20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6BA7216-816D-44D6-9D1C-A88697876CDA}"/>
              </a:ext>
            </a:extLst>
          </p:cNvPr>
          <p:cNvSpPr/>
          <p:nvPr/>
        </p:nvSpPr>
        <p:spPr>
          <a:xfrm>
            <a:off x="6817918" y="1471122"/>
            <a:ext cx="6275715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78% </a:t>
            </a: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treat themselves when they don’t need to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i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(Index 116)</a:t>
            </a:r>
            <a:endParaRPr kumimoji="0" lang="en-GB" sz="9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D3124E3-B8C7-4EE7-8FCD-7A5F6039893A}"/>
              </a:ext>
            </a:extLst>
          </p:cNvPr>
          <p:cNvSpPr/>
          <p:nvPr/>
        </p:nvSpPr>
        <p:spPr>
          <a:xfrm>
            <a:off x="9039225" y="4774506"/>
            <a:ext cx="4054408" cy="1689432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82% buy clothes based on </a:t>
            </a:r>
          </a:p>
          <a:p>
            <a:pPr marL="0" marR="0" lvl="0" indent="0" algn="ctr" defTabSz="961844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the quality of the product</a:t>
            </a:r>
          </a:p>
          <a:p>
            <a:pPr algn="ctr">
              <a:defRPr/>
            </a:pPr>
            <a:r>
              <a:rPr lang="en-GB" sz="900" b="1" i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(Index 106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BE0A46E-6994-4444-906A-62CBE0069957}"/>
              </a:ext>
            </a:extLst>
          </p:cNvPr>
          <p:cNvSpPr/>
          <p:nvPr/>
        </p:nvSpPr>
        <p:spPr>
          <a:xfrm>
            <a:off x="8520841" y="3114352"/>
            <a:ext cx="4572791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26% more likely to ‘buy free range products whenever they can’ </a:t>
            </a:r>
          </a:p>
          <a:p>
            <a:pPr algn="ctr">
              <a:defRPr/>
            </a:pPr>
            <a:r>
              <a:rPr lang="en-GB" sz="900" b="1" i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(index 126)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8D01562-D500-4E67-B5FE-C2B4E6F4E798}"/>
              </a:ext>
            </a:extLst>
          </p:cNvPr>
          <p:cNvSpPr/>
          <p:nvPr/>
        </p:nvSpPr>
        <p:spPr>
          <a:xfrm>
            <a:off x="4291347" y="3114352"/>
            <a:ext cx="4041535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50% only use good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quality toiletries</a:t>
            </a:r>
            <a:r>
              <a:rPr lang="en-GB" sz="900" b="1" i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  <a:p>
            <a:pPr lvl="0" algn="ctr">
              <a:defRPr/>
            </a:pPr>
            <a:r>
              <a:rPr lang="en-GB" sz="900" b="1" i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(Index 124)</a:t>
            </a:r>
          </a:p>
        </p:txBody>
      </p:sp>
    </p:spTree>
    <p:extLst>
      <p:ext uri="{BB962C8B-B14F-4D97-AF65-F5344CB8AC3E}">
        <p14:creationId xmlns:p14="http://schemas.microsoft.com/office/powerpoint/2010/main" val="62066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4CB7DD6-5982-4396-B654-0E5737830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C1 women treat themselves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F535636-3264-48AF-A507-519AD3BC15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Audience snapshot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3C7A42A-1AD7-4410-8396-C72241D76535}"/>
              </a:ext>
            </a:extLst>
          </p:cNvPr>
          <p:cNvGrpSpPr/>
          <p:nvPr/>
        </p:nvGrpSpPr>
        <p:grpSpPr>
          <a:xfrm>
            <a:off x="9498599" y="1622904"/>
            <a:ext cx="2160000" cy="2160000"/>
            <a:chOff x="4729163" y="471488"/>
            <a:chExt cx="1144587" cy="1144587"/>
          </a:xfrm>
          <a:solidFill>
            <a:schemeClr val="accent3"/>
          </a:solidFill>
        </p:grpSpPr>
        <p:sp>
          <p:nvSpPr>
            <p:cNvPr id="13" name="Freeform 23">
              <a:extLst>
                <a:ext uri="{FF2B5EF4-FFF2-40B4-BE49-F238E27FC236}">
                  <a16:creationId xmlns:a16="http://schemas.microsoft.com/office/drawing/2014/main" id="{EBD13092-A993-48D8-8A60-D5AB282ABB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accent3"/>
                </a:solidFill>
              </a:endParaRPr>
            </a:p>
          </p:txBody>
        </p:sp>
        <p:sp>
          <p:nvSpPr>
            <p:cNvPr id="14" name="Freeform 24">
              <a:extLst>
                <a:ext uri="{FF2B5EF4-FFF2-40B4-BE49-F238E27FC236}">
                  <a16:creationId xmlns:a16="http://schemas.microsoft.com/office/drawing/2014/main" id="{25E97DF7-1CC0-4B8E-9DB7-592E6BFA3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3"/>
                </a:solidFill>
              </a:endParaRPr>
            </a:p>
          </p:txBody>
        </p:sp>
      </p:grpSp>
      <p:sp>
        <p:nvSpPr>
          <p:cNvPr id="15" name="Freeform 309">
            <a:extLst>
              <a:ext uri="{FF2B5EF4-FFF2-40B4-BE49-F238E27FC236}">
                <a16:creationId xmlns:a16="http://schemas.microsoft.com/office/drawing/2014/main" id="{62450D58-7769-4689-81BA-19CE53F0D6C9}"/>
              </a:ext>
            </a:extLst>
          </p:cNvPr>
          <p:cNvSpPr>
            <a:spLocks noEditPoints="1"/>
          </p:cNvSpPr>
          <p:nvPr/>
        </p:nvSpPr>
        <p:spPr bwMode="auto">
          <a:xfrm>
            <a:off x="1784351" y="1632762"/>
            <a:ext cx="2160000" cy="21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146">
            <a:extLst>
              <a:ext uri="{FF2B5EF4-FFF2-40B4-BE49-F238E27FC236}">
                <a16:creationId xmlns:a16="http://schemas.microsoft.com/office/drawing/2014/main" id="{D7901A01-0E0A-482C-A928-A0D846A659CD}"/>
              </a:ext>
            </a:extLst>
          </p:cNvPr>
          <p:cNvSpPr>
            <a:spLocks noEditPoints="1"/>
          </p:cNvSpPr>
          <p:nvPr/>
        </p:nvSpPr>
        <p:spPr bwMode="auto">
          <a:xfrm>
            <a:off x="5641475" y="1622904"/>
            <a:ext cx="2160000" cy="21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A115695F-B46E-45E0-A12C-B78B6297FCAF}"/>
              </a:ext>
            </a:extLst>
          </p:cNvPr>
          <p:cNvSpPr txBox="1">
            <a:spLocks/>
          </p:cNvSpPr>
          <p:nvPr/>
        </p:nvSpPr>
        <p:spPr>
          <a:xfrm>
            <a:off x="1343586" y="4546153"/>
            <a:ext cx="3041530" cy="159696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buClrTx/>
              <a:buSzTx/>
              <a:defRPr/>
            </a:pPr>
            <a:r>
              <a:rPr lang="en-GB" sz="1600" dirty="0">
                <a:solidFill>
                  <a:srgbClr val="8A8A8D"/>
                </a:solidFill>
              </a:rPr>
              <a:t>Like to treat themselves to new things </a:t>
            </a: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endParaRPr lang="en-GB" sz="1600" dirty="0">
              <a:solidFill>
                <a:srgbClr val="8A8A8D"/>
              </a:solidFill>
            </a:endParaRP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r>
              <a:rPr lang="en-GB" sz="1600" dirty="0">
                <a:solidFill>
                  <a:srgbClr val="8A8A8D"/>
                </a:solidFill>
              </a:rPr>
              <a:t>Willing to pay for high quality products </a:t>
            </a: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endParaRPr lang="en-GB" sz="1600" b="0" dirty="0">
              <a:solidFill>
                <a:srgbClr val="8A8A8D"/>
              </a:solidFill>
            </a:endParaRPr>
          </a:p>
          <a:p>
            <a:pPr algn="ctr"/>
            <a:endParaRPr lang="en-GB" sz="1600" dirty="0">
              <a:solidFill>
                <a:schemeClr val="accent6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38ACE0-BAFF-40B2-9849-2A61516BB33D}"/>
              </a:ext>
            </a:extLst>
          </p:cNvPr>
          <p:cNvSpPr txBox="1"/>
          <p:nvPr/>
        </p:nvSpPr>
        <p:spPr>
          <a:xfrm>
            <a:off x="1725763" y="3951035"/>
            <a:ext cx="227717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WHO ARE THEY?</a:t>
            </a:r>
            <a:endParaRPr lang="en-US" sz="1800" b="1" dirty="0" err="1">
              <a:solidFill>
                <a:schemeClr val="accent3"/>
              </a:solidFill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318B6BA-E353-4295-99AA-348EC53F00D0}"/>
              </a:ext>
            </a:extLst>
          </p:cNvPr>
          <p:cNvSpPr txBox="1">
            <a:spLocks/>
          </p:cNvSpPr>
          <p:nvPr/>
        </p:nvSpPr>
        <p:spPr>
          <a:xfrm>
            <a:off x="5094809" y="4546153"/>
            <a:ext cx="3253332" cy="1781686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rgbClr val="8A8A8D"/>
                </a:solidFill>
              </a:rPr>
              <a:t>The perfect place to escape from the busy day-to-day life </a:t>
            </a: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endParaRPr lang="en-GB" sz="1600" dirty="0">
              <a:solidFill>
                <a:srgbClr val="8A8A8D"/>
              </a:solidFill>
            </a:endParaRP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r>
              <a:rPr lang="en-GB" sz="1600" dirty="0">
                <a:solidFill>
                  <a:srgbClr val="8A8A8D"/>
                </a:solidFill>
              </a:rPr>
              <a:t>They treat themselves to the premium experience </a:t>
            </a: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endParaRPr lang="en-GB" sz="1600" dirty="0">
              <a:solidFill>
                <a:srgbClr val="8A8A8D"/>
              </a:solidFill>
            </a:endParaRP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r>
              <a:rPr lang="en-GB" sz="1600" dirty="0">
                <a:solidFill>
                  <a:srgbClr val="8A8A8D"/>
                </a:solidFill>
              </a:rPr>
              <a:t>A viewing experience which cannot be replicated </a:t>
            </a:r>
          </a:p>
          <a:p>
            <a:pPr algn="ctr"/>
            <a:endParaRPr lang="en-GB" sz="1600" dirty="0">
              <a:solidFill>
                <a:schemeClr val="accent6"/>
              </a:solidFill>
            </a:endParaRPr>
          </a:p>
          <a:p>
            <a:pPr algn="ctr"/>
            <a:endParaRPr lang="en-GB" sz="1600" dirty="0">
              <a:solidFill>
                <a:schemeClr val="accent6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2BDCE72-1FAB-4DF2-A3F5-EB732210B2F4}"/>
              </a:ext>
            </a:extLst>
          </p:cNvPr>
          <p:cNvSpPr txBox="1"/>
          <p:nvPr/>
        </p:nvSpPr>
        <p:spPr>
          <a:xfrm>
            <a:off x="5717664" y="3951035"/>
            <a:ext cx="200762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WHY CINEMA?</a:t>
            </a:r>
            <a:endParaRPr lang="en-US" sz="1800" b="1" dirty="0" err="1">
              <a:solidFill>
                <a:schemeClr val="accent3"/>
              </a:solidFill>
            </a:endParaRP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7F6C807C-E9AA-420E-9E4F-46DD45D529AF}"/>
              </a:ext>
            </a:extLst>
          </p:cNvPr>
          <p:cNvSpPr txBox="1">
            <a:spLocks/>
          </p:cNvSpPr>
          <p:nvPr/>
        </p:nvSpPr>
        <p:spPr>
          <a:xfrm>
            <a:off x="9220549" y="4546153"/>
            <a:ext cx="2765963" cy="1357883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lnSpc>
                <a:spcPct val="100000"/>
              </a:lnSpc>
              <a:buClrTx/>
              <a:buSzTx/>
              <a:defRPr/>
            </a:pPr>
            <a:r>
              <a:rPr lang="en-GB" sz="1600" dirty="0">
                <a:solidFill>
                  <a:srgbClr val="8A8A8D"/>
                </a:solidFill>
              </a:rPr>
              <a:t>Positive Emotions </a:t>
            </a: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endParaRPr lang="en-GB" sz="1600" dirty="0">
              <a:solidFill>
                <a:srgbClr val="8A8A8D"/>
              </a:solidFill>
            </a:endParaRP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endParaRPr lang="en-GB" sz="1600" dirty="0">
              <a:solidFill>
                <a:srgbClr val="8A8A8D"/>
              </a:solidFill>
            </a:endParaRP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r>
              <a:rPr lang="en-GB" sz="1600" dirty="0">
                <a:solidFill>
                  <a:srgbClr val="8A8A8D"/>
                </a:solidFill>
              </a:rPr>
              <a:t>Boutique Cinema </a:t>
            </a: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endParaRPr lang="en-GB" sz="1600" dirty="0">
              <a:solidFill>
                <a:srgbClr val="8A8A8D"/>
              </a:solidFill>
            </a:endParaRP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endParaRPr lang="en-GB" sz="1600" dirty="0">
              <a:solidFill>
                <a:srgbClr val="8A8A8D"/>
              </a:solidFill>
            </a:endParaRPr>
          </a:p>
          <a:p>
            <a:pPr lvl="0" algn="ctr">
              <a:lnSpc>
                <a:spcPct val="100000"/>
              </a:lnSpc>
              <a:buClrTx/>
              <a:buSzTx/>
              <a:defRPr/>
            </a:pPr>
            <a:r>
              <a:rPr lang="en-GB" sz="1600" dirty="0">
                <a:solidFill>
                  <a:srgbClr val="8A8A8D"/>
                </a:solidFill>
              </a:rPr>
              <a:t>Awards Season</a:t>
            </a:r>
            <a:endParaRPr lang="en-GB" sz="1600" dirty="0">
              <a:solidFill>
                <a:schemeClr val="accent6"/>
              </a:solidFill>
            </a:endParaRPr>
          </a:p>
          <a:p>
            <a:pPr algn="ctr"/>
            <a:endParaRPr lang="en-GB" sz="1600" dirty="0">
              <a:solidFill>
                <a:schemeClr val="accent6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EF148DE-B9CB-4436-8BEB-74BEBEAC602F}"/>
              </a:ext>
            </a:extLst>
          </p:cNvPr>
          <p:cNvSpPr txBox="1"/>
          <p:nvPr/>
        </p:nvSpPr>
        <p:spPr>
          <a:xfrm>
            <a:off x="9712222" y="3939605"/>
            <a:ext cx="178261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>
                <a:solidFill>
                  <a:schemeClr val="accent3"/>
                </a:solidFill>
              </a:rPr>
              <a:t>KEYWORDS</a:t>
            </a:r>
            <a:endParaRPr lang="en-US" sz="1800" b="1" dirty="0" err="1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56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E19C4-0390-4423-8EC0-4FB306E9D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C1 women: THEIR AV WORLD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C4E338-C54B-4CD7-9F75-2629370BFA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27165" y="7197779"/>
            <a:ext cx="6066415" cy="246221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1. IPA Touchpoints 2018 &amp; 2017. </a:t>
            </a:r>
          </a:p>
          <a:p>
            <a:r>
              <a:rPr lang="en-GB" dirty="0"/>
              <a:t>2. IPA Touchpoints 2018 &amp; 2017. Weekly Mon-Sun reach of non-BBC TV – live or recorded on any device. 3. TGI Q1 2019 &amp; 2018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47DE4-245F-4A32-B1E0-21A6488237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54533"/>
            <a:ext cx="7673850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Light TV viewers who are using subscription services more frequently to create their own content viewing schedules and are therefore becoming harder for brands to engage.</a:t>
            </a: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sp>
        <p:nvSpPr>
          <p:cNvPr id="8" name="Freeform 451">
            <a:extLst>
              <a:ext uri="{FF2B5EF4-FFF2-40B4-BE49-F238E27FC236}">
                <a16:creationId xmlns:a16="http://schemas.microsoft.com/office/drawing/2014/main" id="{8F68FC79-E255-466A-809D-6B79B4D03F49}"/>
              </a:ext>
            </a:extLst>
          </p:cNvPr>
          <p:cNvSpPr>
            <a:spLocks noEditPoints="1"/>
          </p:cNvSpPr>
          <p:nvPr/>
        </p:nvSpPr>
        <p:spPr bwMode="auto">
          <a:xfrm>
            <a:off x="5650927" y="1939552"/>
            <a:ext cx="2160000" cy="21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9C0CCD9-0A31-4BEA-BF72-A47069344870}"/>
              </a:ext>
            </a:extLst>
          </p:cNvPr>
          <p:cNvSpPr txBox="1">
            <a:spLocks/>
          </p:cNvSpPr>
          <p:nvPr/>
        </p:nvSpPr>
        <p:spPr>
          <a:xfrm>
            <a:off x="1499398" y="4469354"/>
            <a:ext cx="2744850" cy="1781686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dirty="0">
                <a:solidFill>
                  <a:schemeClr val="accent3"/>
                </a:solidFill>
              </a:rPr>
              <a:t>65% </a:t>
            </a:r>
          </a:p>
          <a:p>
            <a:pPr algn="ctr"/>
            <a:endParaRPr lang="en-GB" sz="2400" dirty="0">
              <a:solidFill>
                <a:schemeClr val="accent2"/>
              </a:solidFill>
            </a:endParaRPr>
          </a:p>
          <a:p>
            <a:pPr algn="ctr"/>
            <a:r>
              <a:rPr lang="en-GB" sz="1600" dirty="0">
                <a:solidFill>
                  <a:schemeClr val="accent6"/>
                </a:solidFill>
              </a:rPr>
              <a:t>are light commercial TV viewers</a:t>
            </a:r>
            <a:r>
              <a:rPr lang="en-GB" sz="1200" baseline="30000" dirty="0">
                <a:solidFill>
                  <a:schemeClr val="accent6"/>
                </a:solidFill>
              </a:rPr>
              <a:t>1</a:t>
            </a:r>
            <a:r>
              <a:rPr lang="en-GB" sz="1600" dirty="0">
                <a:solidFill>
                  <a:schemeClr val="accent6"/>
                </a:solidFill>
              </a:rPr>
              <a:t> </a:t>
            </a:r>
          </a:p>
          <a:p>
            <a:pPr algn="ctr"/>
            <a:endParaRPr lang="en-GB" sz="1600" dirty="0">
              <a:solidFill>
                <a:schemeClr val="accent6"/>
              </a:solidFill>
            </a:endParaRPr>
          </a:p>
          <a:p>
            <a:pPr algn="ctr"/>
            <a:r>
              <a:rPr lang="en-GB" sz="1600" dirty="0">
                <a:solidFill>
                  <a:schemeClr val="accent6"/>
                </a:solidFill>
              </a:rPr>
              <a:t>9% more likely than the average UK adult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41C3214-2C06-4F17-AE4D-3852997F7E83}"/>
              </a:ext>
            </a:extLst>
          </p:cNvPr>
          <p:cNvSpPr txBox="1">
            <a:spLocks/>
          </p:cNvSpPr>
          <p:nvPr/>
        </p:nvSpPr>
        <p:spPr>
          <a:xfrm>
            <a:off x="5262399" y="4469354"/>
            <a:ext cx="2918151" cy="1781686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dirty="0">
                <a:solidFill>
                  <a:schemeClr val="accent3"/>
                </a:solidFill>
              </a:rPr>
              <a:t>-3% </a:t>
            </a:r>
          </a:p>
          <a:p>
            <a:pPr algn="ctr"/>
            <a:endParaRPr lang="en-GB" sz="2400" dirty="0">
              <a:solidFill>
                <a:schemeClr val="accent2"/>
              </a:solidFill>
            </a:endParaRPr>
          </a:p>
          <a:p>
            <a:pPr algn="ctr"/>
            <a:r>
              <a:rPr lang="en-GB" sz="1600" dirty="0">
                <a:solidFill>
                  <a:schemeClr val="accent6"/>
                </a:solidFill>
              </a:rPr>
              <a:t>Decrease in weekly commercial TV reach (live or recorded/any device) in the last 12 months</a:t>
            </a:r>
            <a:r>
              <a:rPr lang="en-GB" sz="1200" baseline="30000" dirty="0">
                <a:solidFill>
                  <a:schemeClr val="accent6"/>
                </a:solidFill>
              </a:rPr>
              <a:t>2</a:t>
            </a:r>
          </a:p>
          <a:p>
            <a:pPr algn="ctr"/>
            <a:endParaRPr lang="en-GB" sz="1600" dirty="0">
              <a:solidFill>
                <a:schemeClr val="accent6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A3C3C44-FBF9-41A2-8616-57DB481456CB}"/>
              </a:ext>
            </a:extLst>
          </p:cNvPr>
          <p:cNvSpPr txBox="1">
            <a:spLocks/>
          </p:cNvSpPr>
          <p:nvPr/>
        </p:nvSpPr>
        <p:spPr>
          <a:xfrm>
            <a:off x="9186253" y="4469354"/>
            <a:ext cx="2807554" cy="1781687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800" dirty="0">
                <a:solidFill>
                  <a:schemeClr val="accent3"/>
                </a:solidFill>
              </a:rPr>
              <a:t>+26%</a:t>
            </a:r>
          </a:p>
          <a:p>
            <a:pPr algn="ctr"/>
            <a:endParaRPr lang="en-GB" sz="2400" dirty="0">
              <a:solidFill>
                <a:schemeClr val="accent2"/>
              </a:solidFill>
            </a:endParaRPr>
          </a:p>
          <a:p>
            <a:pPr algn="ctr"/>
            <a:r>
              <a:rPr lang="en-GB" sz="1600" dirty="0">
                <a:solidFill>
                  <a:schemeClr val="accent6"/>
                </a:solidFill>
              </a:rPr>
              <a:t>24% have used Netflix in the last 4 weeks – that’s a 26% YOY increase</a:t>
            </a:r>
            <a:r>
              <a:rPr lang="en-GB" sz="1200" baseline="30000" dirty="0">
                <a:solidFill>
                  <a:schemeClr val="accent6"/>
                </a:solidFill>
              </a:rPr>
              <a:t>3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BA0F3141-C122-4682-92AE-10144677C92C}"/>
              </a:ext>
            </a:extLst>
          </p:cNvPr>
          <p:cNvSpPr>
            <a:spLocks noEditPoints="1"/>
          </p:cNvSpPr>
          <p:nvPr/>
        </p:nvSpPr>
        <p:spPr bwMode="auto">
          <a:xfrm>
            <a:off x="9510030" y="1939552"/>
            <a:ext cx="2160000" cy="216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299">
            <a:extLst>
              <a:ext uri="{FF2B5EF4-FFF2-40B4-BE49-F238E27FC236}">
                <a16:creationId xmlns:a16="http://schemas.microsoft.com/office/drawing/2014/main" id="{66D5F9D0-F1FA-4428-B3CD-5E25F1406537}"/>
              </a:ext>
            </a:extLst>
          </p:cNvPr>
          <p:cNvSpPr>
            <a:spLocks noEditPoints="1"/>
          </p:cNvSpPr>
          <p:nvPr/>
        </p:nvSpPr>
        <p:spPr bwMode="auto">
          <a:xfrm>
            <a:off x="1791823" y="1939552"/>
            <a:ext cx="2160000" cy="21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748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97126-F4D6-4ED0-B9C0-441C241D0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eaming is fuelling their passion for film 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BCE49D-E1DB-4F00-9587-6DFE5B2AC2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02582" y="7203784"/>
            <a:ext cx="5281324" cy="246221"/>
          </a:xfrm>
        </p:spPr>
        <p:txBody>
          <a:bodyPr/>
          <a:lstStyle/>
          <a:p>
            <a:pPr lvl="0"/>
            <a:r>
              <a:rPr lang="en-GB" b="1" dirty="0"/>
              <a:t>Source</a:t>
            </a:r>
            <a:r>
              <a:rPr lang="en-GB" dirty="0"/>
              <a:t>: TGI Q2 2019. </a:t>
            </a:r>
          </a:p>
          <a:p>
            <a:pPr lvl="0"/>
            <a:r>
              <a:rPr lang="en-GB" dirty="0"/>
              <a:t>Target: ABC1 women – use either Netflix, Amazon Prime or Now TV in the last 4 weeks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0EC8DC-A3A8-4F0A-9C28-E3F979D6A0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8607300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Cinema remains a great way of engaging with entertainment-loving affluent women - 94% of ABC1 women who used Netflix, Amazon Prime or Now TV in the last month are also cinemagoers.</a:t>
            </a: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C48CD5E-5456-CB4F-8181-4E6DC5A93A5D}"/>
              </a:ext>
            </a:extLst>
          </p:cNvPr>
          <p:cNvGrpSpPr/>
          <p:nvPr/>
        </p:nvGrpSpPr>
        <p:grpSpPr>
          <a:xfrm>
            <a:off x="1096530" y="1647964"/>
            <a:ext cx="11249891" cy="4913746"/>
            <a:chOff x="982092" y="1551709"/>
            <a:chExt cx="11249891" cy="4913746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1F72B244-0C47-4F5B-9417-40546E326945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73638391"/>
                </p:ext>
              </p:extLst>
            </p:nvPr>
          </p:nvGraphicFramePr>
          <p:xfrm>
            <a:off x="982092" y="1551709"/>
            <a:ext cx="11249891" cy="491374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CDFC6850-31AA-47AB-8F4E-01E2691FDC4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03582" y="2357837"/>
              <a:ext cx="1840048" cy="355388"/>
            </a:xfrm>
            <a:prstGeom prst="straightConnector1">
              <a:avLst/>
            </a:prstGeom>
            <a:ln w="15875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D3F3E3D-6587-4BB7-8650-314185B22FB5}"/>
                </a:ext>
              </a:extLst>
            </p:cNvPr>
            <p:cNvSpPr txBox="1"/>
            <p:nvPr/>
          </p:nvSpPr>
          <p:spPr>
            <a:xfrm>
              <a:off x="6224854" y="2088969"/>
              <a:ext cx="119750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b="1" dirty="0">
                  <a:solidFill>
                    <a:schemeClr val="accent3"/>
                  </a:solidFill>
                </a:rPr>
                <a:t>+13% uplift</a:t>
              </a:r>
              <a:endParaRPr lang="en-US" sz="1200" b="1" dirty="0" err="1">
                <a:solidFill>
                  <a:schemeClr val="accent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672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5848A-7433-4F45-9297-54B1B5A89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nemagoing has increased and stayed consistent over the last decad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7F050A-930B-4747-ABA1-0989104F6F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82225" y="7270169"/>
            <a:ext cx="3116263" cy="123111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TGI trend analysis Q2 2011 – Q2 2019. 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E7D8451-65B6-46D5-8BE1-9A147CB348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9050" y="664058"/>
            <a:ext cx="12423740" cy="436608"/>
          </a:xfrm>
        </p:spPr>
        <p:txBody>
          <a:bodyPr/>
          <a:lstStyle/>
          <a:p>
            <a:r>
              <a:rPr lang="en-GB" dirty="0"/>
              <a:t>Cinema has remained a valued treat for ABC1 women – now consistently every year 8 in 10 will go to the cinema. 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E2BF678-B0AA-D74E-84D3-D5F8FF6983A3}"/>
              </a:ext>
            </a:extLst>
          </p:cNvPr>
          <p:cNvGrpSpPr/>
          <p:nvPr/>
        </p:nvGrpSpPr>
        <p:grpSpPr>
          <a:xfrm>
            <a:off x="653185" y="1283856"/>
            <a:ext cx="12136581" cy="5292436"/>
            <a:chOff x="665018" y="1283856"/>
            <a:chExt cx="12136581" cy="5292436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700A8636-0576-4212-AFBB-4B1AD3E2C03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967160280"/>
                </p:ext>
              </p:extLst>
            </p:nvPr>
          </p:nvGraphicFramePr>
          <p:xfrm>
            <a:off x="665018" y="1283856"/>
            <a:ext cx="12136581" cy="52924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pic>
          <p:nvPicPr>
            <p:cNvPr id="10" name="Picture 35" descr="Image result for netflix LOGO">
              <a:extLst>
                <a:ext uri="{FF2B5EF4-FFF2-40B4-BE49-F238E27FC236}">
                  <a16:creationId xmlns:a16="http://schemas.microsoft.com/office/drawing/2014/main" id="{957B9E04-2785-4E04-934B-FC48BC7011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8536" y="2334597"/>
              <a:ext cx="355161" cy="2663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C27CC82-3F84-42BF-B4BB-1E2324863E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9228" y="2297723"/>
              <a:ext cx="586042" cy="1803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5562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C0B7AA-306B-4C71-A4D0-BDC75B4030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76% agree the </a:t>
            </a:r>
          </a:p>
          <a:p>
            <a:r>
              <a:rPr lang="en-GB" dirty="0">
                <a:solidFill>
                  <a:srgbClr val="FFFFFF"/>
                </a:solidFill>
              </a:rPr>
              <a:t>cinema experience cannot be replicated </a:t>
            </a:r>
          </a:p>
          <a:p>
            <a:r>
              <a:rPr lang="en-GB" sz="4400" dirty="0">
                <a:solidFill>
                  <a:srgbClr val="FFFFFF"/>
                </a:solidFill>
              </a:rPr>
              <a:t>(on Tv, Laptop or Mobile)</a:t>
            </a:r>
            <a:endParaRPr lang="en-US" sz="4400" dirty="0">
              <a:solidFill>
                <a:srgbClr val="FFFFFF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11EFDAD-4F39-474D-9E75-A2B88D77FB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82225" y="7251119"/>
            <a:ext cx="3116263" cy="123111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en-GB" dirty="0"/>
              <a:t>Source: FAME 2018. 123 Index vs. average UK cinemagoe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507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7276AA-FD40-4D36-9DFB-F40CA56474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GB" dirty="0"/>
              <a:t>T</a:t>
            </a:r>
            <a:r>
              <a:rPr lang="en-US" dirty="0"/>
              <a:t>he cinema is the perfect place to escape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3A10B6-5E1B-4620-9EE9-9020D15731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20746" y="7262688"/>
            <a:ext cx="3116263" cy="123111"/>
          </a:xfrm>
        </p:spPr>
        <p:txBody>
          <a:bodyPr/>
          <a:lstStyle/>
          <a:p>
            <a:r>
              <a:rPr lang="en-US" dirty="0"/>
              <a:t>Source: FAME 2018. Index vs. average UK cinemagoer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B0EBB5-E508-40BE-973E-0C45317816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8788275" cy="193192"/>
          </a:xfrm>
        </p:spPr>
        <p:txBody>
          <a:bodyPr/>
          <a:lstStyle/>
          <a:p>
            <a:r>
              <a:rPr lang="en-GB" dirty="0"/>
              <a:t>ABC1 women lead busy daily lives – the cinema is a brilliant place to relax and escape in another world.</a:t>
            </a:r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CB769C2-9276-49EB-ADC9-8E943CA640E6}"/>
              </a:ext>
            </a:extLst>
          </p:cNvPr>
          <p:cNvSpPr txBox="1">
            <a:spLocks/>
          </p:cNvSpPr>
          <p:nvPr/>
        </p:nvSpPr>
        <p:spPr>
          <a:xfrm>
            <a:off x="2188140" y="5589443"/>
            <a:ext cx="3690072" cy="997453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accent6"/>
                </a:solidFill>
              </a:rPr>
              <a:t>“A trip to the cinema lets me escape from everyday life”</a:t>
            </a:r>
          </a:p>
          <a:p>
            <a:pPr algn="ctr">
              <a:lnSpc>
                <a:spcPts val="1500"/>
              </a:lnSpc>
            </a:pPr>
            <a:r>
              <a:rPr lang="en-GB" sz="900" b="0" i="1" dirty="0">
                <a:solidFill>
                  <a:schemeClr val="accent6"/>
                </a:solidFill>
              </a:rPr>
              <a:t>(Index: 122)</a:t>
            </a:r>
            <a:endParaRPr lang="en-US" sz="900" b="0" i="1" dirty="0">
              <a:solidFill>
                <a:schemeClr val="accent6"/>
              </a:solidFill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2C50056-19DE-4976-B630-37B199D4B531}"/>
              </a:ext>
            </a:extLst>
          </p:cNvPr>
          <p:cNvSpPr txBox="1">
            <a:spLocks/>
          </p:cNvSpPr>
          <p:nvPr/>
        </p:nvSpPr>
        <p:spPr>
          <a:xfrm>
            <a:off x="7602260" y="5589443"/>
            <a:ext cx="3690071" cy="70532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accent6"/>
                </a:solidFill>
              </a:rPr>
              <a:t>“I get completely absorbed in the story when I watch a film at the cinema”</a:t>
            </a:r>
          </a:p>
          <a:p>
            <a:pPr algn="ctr">
              <a:lnSpc>
                <a:spcPts val="1500"/>
              </a:lnSpc>
            </a:pPr>
            <a:r>
              <a:rPr lang="en-GB" sz="900" b="0" i="1" dirty="0">
                <a:solidFill>
                  <a:srgbClr val="8A8A8D"/>
                </a:solidFill>
                <a:latin typeface="Arial"/>
              </a:rPr>
              <a:t>(Index: 123)</a:t>
            </a:r>
            <a:endParaRPr lang="en-US" sz="900" b="0" i="1" dirty="0">
              <a:solidFill>
                <a:srgbClr val="8A8A8D"/>
              </a:solidFill>
              <a:latin typeface="Arial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419544D-E0C1-471D-9259-29ABBB9699C1}"/>
              </a:ext>
            </a:extLst>
          </p:cNvPr>
          <p:cNvSpPr txBox="1">
            <a:spLocks/>
          </p:cNvSpPr>
          <p:nvPr/>
        </p:nvSpPr>
        <p:spPr bwMode="gray">
          <a:xfrm>
            <a:off x="3018397" y="2903622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accent3"/>
                </a:solidFill>
              </a:rPr>
              <a:t>75%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6C93B86-CC97-4164-B5EC-04BABBEAFAB8}"/>
              </a:ext>
            </a:extLst>
          </p:cNvPr>
          <p:cNvGrpSpPr/>
          <p:nvPr/>
        </p:nvGrpSpPr>
        <p:grpSpPr>
          <a:xfrm>
            <a:off x="2184232" y="1508770"/>
            <a:ext cx="3693979" cy="3693979"/>
            <a:chOff x="5372210" y="1607899"/>
            <a:chExt cx="3693979" cy="3693979"/>
          </a:xfrm>
        </p:grpSpPr>
        <p:sp>
          <p:nvSpPr>
            <p:cNvPr id="16" name="Block Arc 15">
              <a:extLst>
                <a:ext uri="{FF2B5EF4-FFF2-40B4-BE49-F238E27FC236}">
                  <a16:creationId xmlns:a16="http://schemas.microsoft.com/office/drawing/2014/main" id="{C1F69D20-7E08-401A-A6E7-90A45E74FE18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2565502"/>
                <a:gd name="adj3" fmla="val 2717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Block Arc 16">
              <a:extLst>
                <a:ext uri="{FF2B5EF4-FFF2-40B4-BE49-F238E27FC236}">
                  <a16:creationId xmlns:a16="http://schemas.microsoft.com/office/drawing/2014/main" id="{1E58C1B8-DAB3-4E94-A626-D4531E9A76F7}"/>
                </a:ext>
              </a:extLst>
            </p:cNvPr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9569647"/>
                <a:gd name="adj2" fmla="val 4156081"/>
                <a:gd name="adj3" fmla="val 269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953B6A-C33D-45AA-9A40-4EC3FE73EA8B}"/>
              </a:ext>
            </a:extLst>
          </p:cNvPr>
          <p:cNvSpPr txBox="1">
            <a:spLocks/>
          </p:cNvSpPr>
          <p:nvPr/>
        </p:nvSpPr>
        <p:spPr bwMode="gray">
          <a:xfrm>
            <a:off x="8430562" y="2903622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accent3"/>
                </a:solidFill>
              </a:rPr>
              <a:t>76%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976B544-65A4-4A74-80DD-78DFE9595829}"/>
              </a:ext>
            </a:extLst>
          </p:cNvPr>
          <p:cNvGrpSpPr/>
          <p:nvPr/>
        </p:nvGrpSpPr>
        <p:grpSpPr>
          <a:xfrm>
            <a:off x="7598352" y="1504863"/>
            <a:ext cx="3693979" cy="3693979"/>
            <a:chOff x="5372210" y="1607899"/>
            <a:chExt cx="3693979" cy="3693979"/>
          </a:xfrm>
        </p:grpSpPr>
        <p:sp>
          <p:nvSpPr>
            <p:cNvPr id="20" name="Block Arc 19">
              <a:extLst>
                <a:ext uri="{FF2B5EF4-FFF2-40B4-BE49-F238E27FC236}">
                  <a16:creationId xmlns:a16="http://schemas.microsoft.com/office/drawing/2014/main" id="{38502D4F-F01E-4E51-867B-82F4EB0347B4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3423511"/>
                <a:gd name="adj3" fmla="val 2731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Block Arc 20">
              <a:extLst>
                <a:ext uri="{FF2B5EF4-FFF2-40B4-BE49-F238E27FC236}">
                  <a16:creationId xmlns:a16="http://schemas.microsoft.com/office/drawing/2014/main" id="{DEED8D4E-A04D-4379-A853-DB55D620B136}"/>
                </a:ext>
              </a:extLst>
            </p:cNvPr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9416202"/>
                <a:gd name="adj2" fmla="val 4233929"/>
                <a:gd name="adj3" fmla="val 2717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205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C0B7AA-306B-4C71-A4D0-BDC75B4030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20% more likely </a:t>
            </a:r>
          </a:p>
          <a:p>
            <a:r>
              <a:rPr lang="en-GB" dirty="0">
                <a:solidFill>
                  <a:srgbClr val="FFFFFF"/>
                </a:solidFill>
              </a:rPr>
              <a:t>to visit the cinema </a:t>
            </a:r>
          </a:p>
          <a:p>
            <a:r>
              <a:rPr lang="en-GB" dirty="0">
                <a:solidFill>
                  <a:srgbClr val="FFFFFF"/>
                </a:solidFill>
              </a:rPr>
              <a:t>with their partner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11EFDAD-4F39-474D-9E75-A2B88D77FB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801101" y="7190847"/>
            <a:ext cx="4497388" cy="243656"/>
          </a:xfrm>
        </p:spPr>
        <p:txBody>
          <a:bodyPr/>
          <a:lstStyle/>
          <a:p>
            <a:r>
              <a:rPr lang="en-GB" dirty="0"/>
              <a:t>Source: FAME 2018. 120 Index vs. average UK cinemagoer – 41% vs. 34%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941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AE129E3-0E77-42C6-ADB3-EFA0D316C3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BC1 women watch critically acclaimed titles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CE14274-B899-4EDB-A7BD-72CE00125DA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26032" y="5138835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3"/>
                </a:solidFill>
              </a:rPr>
              <a:t>Hidden Figures</a:t>
            </a:r>
          </a:p>
          <a:p>
            <a:endParaRPr lang="en-GB" sz="1050" dirty="0"/>
          </a:p>
          <a:p>
            <a:pPr>
              <a:lnSpc>
                <a:spcPct val="100000"/>
              </a:lnSpc>
            </a:pPr>
            <a:r>
              <a:rPr lang="en-GB" sz="1050" dirty="0">
                <a:solidFill>
                  <a:schemeClr val="accent6"/>
                </a:solidFill>
              </a:rPr>
              <a:t>62% Female</a:t>
            </a:r>
          </a:p>
          <a:p>
            <a:pPr>
              <a:lnSpc>
                <a:spcPct val="100000"/>
              </a:lnSpc>
            </a:pPr>
            <a:r>
              <a:rPr lang="en-GB" sz="1050" dirty="0">
                <a:solidFill>
                  <a:schemeClr val="accent6"/>
                </a:solidFill>
              </a:rPr>
              <a:t>75% ABC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AF3B71-DD0C-48E2-9447-18E1527F46D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629151" y="5136405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3"/>
                </a:solidFill>
              </a:rPr>
              <a:t>La La Land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64% Fem</a:t>
            </a:r>
            <a:r>
              <a:rPr lang="en-US" sz="1050" dirty="0">
                <a:solidFill>
                  <a:schemeClr val="accent6"/>
                </a:solidFill>
              </a:rPr>
              <a:t>ale</a:t>
            </a:r>
          </a:p>
          <a:p>
            <a:r>
              <a:rPr lang="en-GB" sz="1050" dirty="0">
                <a:solidFill>
                  <a:schemeClr val="accent6"/>
                </a:solidFill>
              </a:rPr>
              <a:t>76</a:t>
            </a:r>
            <a:r>
              <a:rPr lang="en-US" sz="1050" dirty="0">
                <a:solidFill>
                  <a:schemeClr val="accent6"/>
                </a:solidFill>
              </a:rPr>
              <a:t>% ABC1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A009F7C-C490-4D02-8F17-8D7DDBB3AB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732268" y="5136405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4"/>
                </a:solidFill>
              </a:rPr>
              <a:t>The Shape of Water</a:t>
            </a:r>
          </a:p>
          <a:p>
            <a:pPr lvl="0">
              <a:defRPr/>
            </a:pPr>
            <a:endParaRPr lang="en-GB" sz="1050" dirty="0">
              <a:solidFill>
                <a:srgbClr val="8A8A8D"/>
              </a:solidFill>
            </a:endParaRPr>
          </a:p>
          <a:p>
            <a:pPr lvl="0">
              <a:defRPr/>
            </a:pPr>
            <a:r>
              <a:rPr lang="en-GB" sz="1050" dirty="0">
                <a:solidFill>
                  <a:schemeClr val="accent6"/>
                </a:solidFill>
              </a:rPr>
              <a:t>48% Fem</a:t>
            </a:r>
            <a:r>
              <a:rPr lang="en-US" sz="1050" dirty="0">
                <a:solidFill>
                  <a:schemeClr val="accent6"/>
                </a:solidFill>
              </a:rPr>
              <a:t>ale</a:t>
            </a:r>
          </a:p>
          <a:p>
            <a:pPr lvl="0">
              <a:defRPr/>
            </a:pPr>
            <a:r>
              <a:rPr lang="en-GB" sz="1050" dirty="0">
                <a:solidFill>
                  <a:schemeClr val="accent6"/>
                </a:solidFill>
              </a:rPr>
              <a:t>7</a:t>
            </a:r>
            <a:r>
              <a:rPr lang="en-US" sz="1050" dirty="0">
                <a:solidFill>
                  <a:schemeClr val="accent6"/>
                </a:solidFill>
              </a:rPr>
              <a:t>9% ABC1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B32EE2E-7E17-4403-A51B-DC632BCAEE0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835391" y="5138835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4"/>
                </a:solidFill>
              </a:rPr>
              <a:t>I, Tonya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68</a:t>
            </a:r>
            <a:r>
              <a:rPr lang="en-US" sz="1050" dirty="0">
                <a:solidFill>
                  <a:schemeClr val="accent6"/>
                </a:solidFill>
              </a:rPr>
              <a:t>% Female</a:t>
            </a:r>
          </a:p>
          <a:p>
            <a:r>
              <a:rPr lang="en-GB" sz="1050" dirty="0">
                <a:solidFill>
                  <a:schemeClr val="accent6"/>
                </a:solidFill>
              </a:rPr>
              <a:t>74</a:t>
            </a:r>
            <a:r>
              <a:rPr lang="en-US" sz="1050" dirty="0">
                <a:solidFill>
                  <a:schemeClr val="accent6"/>
                </a:solidFill>
              </a:rPr>
              <a:t>% ABC1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43AB114-F610-4590-BBE9-A4AA0CE68F7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041626" y="5136405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3"/>
                </a:solidFill>
              </a:rPr>
              <a:t>The Favourite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57</a:t>
            </a:r>
            <a:r>
              <a:rPr lang="en-US" sz="1050" dirty="0">
                <a:solidFill>
                  <a:schemeClr val="accent6"/>
                </a:solidFill>
              </a:rPr>
              <a:t>% Female</a:t>
            </a:r>
          </a:p>
          <a:p>
            <a:r>
              <a:rPr lang="en-GB" sz="1050" dirty="0">
                <a:solidFill>
                  <a:schemeClr val="accent6"/>
                </a:solidFill>
              </a:rPr>
              <a:t>80</a:t>
            </a:r>
            <a:r>
              <a:rPr lang="en-US" sz="1050" dirty="0">
                <a:solidFill>
                  <a:schemeClr val="accent6"/>
                </a:solidFill>
              </a:rPr>
              <a:t>% ABC1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8A72120-64B8-4C70-A950-E0CF2E0FBF3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938502" y="5136405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3"/>
                </a:solidFill>
              </a:rPr>
              <a:t>A Star is Born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67% Female</a:t>
            </a:r>
            <a:endParaRPr lang="en-US" sz="1050" dirty="0">
              <a:solidFill>
                <a:schemeClr val="accent6"/>
              </a:solidFill>
            </a:endParaRPr>
          </a:p>
          <a:p>
            <a:r>
              <a:rPr lang="en-GB" sz="1050" dirty="0">
                <a:solidFill>
                  <a:schemeClr val="accent6"/>
                </a:solidFill>
              </a:rPr>
              <a:t>77</a:t>
            </a:r>
            <a:r>
              <a:rPr lang="en-US" sz="1050" dirty="0">
                <a:solidFill>
                  <a:schemeClr val="accent6"/>
                </a:solidFill>
              </a:rPr>
              <a:t>% ABC1</a:t>
            </a:r>
            <a:r>
              <a:rPr lang="en-GB" sz="1050" dirty="0">
                <a:solidFill>
                  <a:schemeClr val="accent6"/>
                </a:solidFill>
              </a:rPr>
              <a:t> </a:t>
            </a:r>
            <a:endParaRPr lang="en-US" sz="1050" dirty="0">
              <a:solidFill>
                <a:schemeClr val="accent6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57778F-641D-48BD-9831-A4B878745A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10800" y="7152484"/>
            <a:ext cx="3116263" cy="206082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Kantar TNS Film Monitor Profiles.</a:t>
            </a:r>
            <a:endParaRPr lang="en-US" b="1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FFD99FD-CED4-4A20-AEBA-F71AFF4191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2818843" cy="436608"/>
          </a:xfrm>
        </p:spPr>
        <p:txBody>
          <a:bodyPr/>
          <a:lstStyle/>
          <a:p>
            <a:r>
              <a:rPr lang="en-GB" dirty="0"/>
              <a:t>Critically acclaimed award season titles often attract an affluent female audience  </a:t>
            </a:r>
            <a:endParaRPr lang="en-US" dirty="0"/>
          </a:p>
          <a:p>
            <a:endParaRPr lang="en-US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5B7A4BC-655B-4A1D-8426-6BE49A26D49A}"/>
              </a:ext>
            </a:extLst>
          </p:cNvPr>
          <p:cNvSpPr txBox="1">
            <a:spLocks/>
          </p:cNvSpPr>
          <p:nvPr/>
        </p:nvSpPr>
        <p:spPr bwMode="gray">
          <a:xfrm>
            <a:off x="526032" y="2033704"/>
            <a:ext cx="456484" cy="1413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61844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547A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9D63DCB0-BDE4-4529-90B1-9207D1BC5DF0}"/>
              </a:ext>
            </a:extLst>
          </p:cNvPr>
          <p:cNvSpPr txBox="1">
            <a:spLocks/>
          </p:cNvSpPr>
          <p:nvPr/>
        </p:nvSpPr>
        <p:spPr bwMode="gray">
          <a:xfrm>
            <a:off x="4732270" y="2033705"/>
            <a:ext cx="456484" cy="1413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61844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9EFC323-E58D-4ED9-9EFE-B17245B60732}"/>
              </a:ext>
            </a:extLst>
          </p:cNvPr>
          <p:cNvSpPr txBox="1">
            <a:spLocks/>
          </p:cNvSpPr>
          <p:nvPr/>
        </p:nvSpPr>
        <p:spPr bwMode="gray">
          <a:xfrm>
            <a:off x="8938508" y="2033706"/>
            <a:ext cx="456484" cy="1413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0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61844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547A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</a:t>
            </a:r>
          </a:p>
        </p:txBody>
      </p:sp>
      <p:pic>
        <p:nvPicPr>
          <p:cNvPr id="38" name="Picture 4" descr="http://mmdb.mymovies.net/source/fid16847/International%20One%20Sheet.jpg">
            <a:extLst>
              <a:ext uri="{FF2B5EF4-FFF2-40B4-BE49-F238E27FC236}">
                <a16:creationId xmlns:a16="http://schemas.microsoft.com/office/drawing/2014/main" id="{42AC1455-0F8B-4774-BF22-2CA3962273AA}"/>
              </a:ext>
            </a:extLst>
          </p:cNvPr>
          <p:cNvPicPr>
            <a:picLocks noGrp="1" noChangeAspect="1" noChangeArrowheads="1"/>
          </p:cNvPicPr>
          <p:nvPr>
            <p:ph type="pic" sz="quarter" idx="3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73" b="2373"/>
          <a:stretch>
            <a:fillRect/>
          </a:stretch>
        </p:blipFill>
        <p:spPr bwMode="auto">
          <a:xfrm>
            <a:off x="526032" y="2265045"/>
            <a:ext cx="1862578" cy="2751975"/>
          </a:xfrm>
          <a:prstGeom prst="rect">
            <a:avLst/>
          </a:prstGeom>
          <a:noFill/>
          <a:ln w="1270">
            <a:solidFill>
              <a:schemeClr val="accent6">
                <a:lumMod val="40000"/>
                <a:lumOff val="60000"/>
                <a:alpha val="48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5" descr="http://mmdb.mymovies.net/source/fid16648/Festival%20Poster.jpeg">
            <a:extLst>
              <a:ext uri="{FF2B5EF4-FFF2-40B4-BE49-F238E27FC236}">
                <a16:creationId xmlns:a16="http://schemas.microsoft.com/office/drawing/2014/main" id="{95371BCB-B253-4159-8154-198955C3784A}"/>
              </a:ext>
            </a:extLst>
          </p:cNvPr>
          <p:cNvPicPr>
            <a:picLocks noGrp="1" noChangeAspect="1" noChangeArrowheads="1"/>
          </p:cNvPicPr>
          <p:nvPr>
            <p:ph type="pic" sz="quarter" idx="37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62" b="2762"/>
          <a:stretch/>
        </p:blipFill>
        <p:spPr bwMode="auto">
          <a:xfrm>
            <a:off x="2629151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7" descr="http://mmdb.mymovies.net/source/fid18053/1-Sheet-Oscar.jpg">
            <a:extLst>
              <a:ext uri="{FF2B5EF4-FFF2-40B4-BE49-F238E27FC236}">
                <a16:creationId xmlns:a16="http://schemas.microsoft.com/office/drawing/2014/main" id="{5D071720-6F73-4EF7-938B-1D379B7344A8}"/>
              </a:ext>
            </a:extLst>
          </p:cNvPr>
          <p:cNvPicPr>
            <a:picLocks noGrp="1" noChangeAspect="1" noChangeArrowheads="1"/>
          </p:cNvPicPr>
          <p:nvPr>
            <p:ph type="pic" sz="quarter" idx="40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47" b="2247"/>
          <a:stretch>
            <a:fillRect/>
          </a:stretch>
        </p:blipFill>
        <p:spPr bwMode="auto">
          <a:xfrm>
            <a:off x="4732270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Placeholder 6">
            <a:extLst>
              <a:ext uri="{FF2B5EF4-FFF2-40B4-BE49-F238E27FC236}">
                <a16:creationId xmlns:a16="http://schemas.microsoft.com/office/drawing/2014/main" id="{22BCD042-E728-42D6-804B-A7D6CDA1B2CA}"/>
              </a:ext>
            </a:extLst>
          </p:cNvPr>
          <p:cNvPicPr>
            <a:picLocks noGrp="1" noChangeAspect="1"/>
          </p:cNvPicPr>
          <p:nvPr>
            <p:ph type="pic" sz="quarter" idx="43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49" b="3249"/>
          <a:stretch>
            <a:fillRect/>
          </a:stretch>
        </p:blipFill>
        <p:spPr>
          <a:xfrm>
            <a:off x="6835389" y="2265045"/>
            <a:ext cx="1862578" cy="2751975"/>
          </a:xfrm>
        </p:spPr>
      </p:pic>
      <p:pic>
        <p:nvPicPr>
          <p:cNvPr id="47" name="Picture 2" descr="http://images.mymovies.net/images/film/cin/550x820/fid18767.jpg">
            <a:extLst>
              <a:ext uri="{FF2B5EF4-FFF2-40B4-BE49-F238E27FC236}">
                <a16:creationId xmlns:a16="http://schemas.microsoft.com/office/drawing/2014/main" id="{74017D87-E406-4E13-A9EE-638514B1CAE4}"/>
              </a:ext>
            </a:extLst>
          </p:cNvPr>
          <p:cNvPicPr>
            <a:picLocks noGrp="1" noChangeAspect="1" noChangeArrowheads="1"/>
          </p:cNvPicPr>
          <p:nvPr>
            <p:ph type="pic" sz="quarter" idx="49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" b="453"/>
          <a:stretch>
            <a:fillRect/>
          </a:stretch>
        </p:blipFill>
        <p:spPr bwMode="auto">
          <a:xfrm>
            <a:off x="11041626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" descr="http://images.mymovies.net/images/film/cin/550x820/fid18619.jpg">
            <a:extLst>
              <a:ext uri="{FF2B5EF4-FFF2-40B4-BE49-F238E27FC236}">
                <a16:creationId xmlns:a16="http://schemas.microsoft.com/office/drawing/2014/main" id="{F865462A-D6DB-4D59-9672-7062AC52F86A}"/>
              </a:ext>
            </a:extLst>
          </p:cNvPr>
          <p:cNvPicPr>
            <a:picLocks noGrp="1" noChangeAspect="1" noChangeArrowheads="1"/>
          </p:cNvPicPr>
          <p:nvPr>
            <p:ph type="pic" sz="quarter" idx="46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5" b="495"/>
          <a:stretch>
            <a:fillRect/>
          </a:stretch>
        </p:blipFill>
        <p:spPr bwMode="auto">
          <a:xfrm>
            <a:off x="8938508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628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9B81A428-C4B1-F642-88AE-8ED774BA0FC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2.xml><?xml version="1.0" encoding="utf-8"?>
<a:theme xmlns:a="http://schemas.openxmlformats.org/drawingml/2006/main" name="1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3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4.xml><?xml version="1.0" encoding="utf-8"?>
<a:theme xmlns:a="http://schemas.openxmlformats.org/drawingml/2006/main" name="3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5.xml><?xml version="1.0" encoding="utf-8"?>
<a:theme xmlns:a="http://schemas.openxmlformats.org/drawingml/2006/main" name="1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16.xml><?xml version="1.0" encoding="utf-8"?>
<a:theme xmlns:a="http://schemas.openxmlformats.org/drawingml/2006/main" name="1_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94ED719A-3707-4D55-B94C-2F5B14F80F6B}" vid="{EE99761A-A4B5-4226-A783-BCA55B8D99EF}"/>
    </a:ext>
  </a:extLst>
</a:theme>
</file>

<file path=ppt/theme/theme17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7EC78B1C-5D69-4949-9B2C-D1A06225736E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1EAB93-89FC-7C45-A263-CCB4337C1C1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B2B0FD12-3727-E94A-BBF9-50CA084E2676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535D1B-DEC1-D540-9F33-D202B6B25608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638900D9-EBF9-0D4A-AE83-BD423BA4FCE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54</Words>
  <Application>Microsoft Office PowerPoint</Application>
  <PresentationFormat>Custom</PresentationFormat>
  <Paragraphs>160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5" baseType="lpstr">
      <vt:lpstr>ＭＳ Ｐゴシック</vt:lpstr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Copy Slides</vt:lpstr>
      <vt:lpstr>2_Copy Slides</vt:lpstr>
      <vt:lpstr>3_Copy Slides</vt:lpstr>
      <vt:lpstr>1_Image Slides</vt:lpstr>
      <vt:lpstr>1_Statement Slides</vt:lpstr>
      <vt:lpstr>think-cell Slide</vt:lpstr>
      <vt:lpstr>Abc1 women  treat themselves</vt:lpstr>
      <vt:lpstr>ABC1 women treat themselves</vt:lpstr>
      <vt:lpstr>ABC1 women: THEIR AV WORLD</vt:lpstr>
      <vt:lpstr>Streaming is fuelling their passion for film </vt:lpstr>
      <vt:lpstr>Cinemagoing has increased and stayed consistent over the last decade</vt:lpstr>
      <vt:lpstr>PowerPoint Presentation</vt:lpstr>
      <vt:lpstr>The cinema is the perfect place to escape </vt:lpstr>
      <vt:lpstr>PowerPoint Presentation</vt:lpstr>
      <vt:lpstr>ABC1 women watch critically acclaimed titles</vt:lpstr>
      <vt:lpstr>ABC1 WOMEN SEEK THE FINEST CINEMA EXPERIENCE</vt:lpstr>
      <vt:lpstr>Immersive escapism </vt:lpstr>
      <vt:lpstr>engage them with cinema in 2019 &amp; 2020</vt:lpstr>
      <vt:lpstr>ABC1 women cinemagoers like to treat themselve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5-30T08:43:17Z</dcterms:created>
  <dcterms:modified xsi:type="dcterms:W3CDTF">2019-08-15T11:44:3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